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1.xml" ContentType="application/vnd.openxmlformats-officedocument.drawingml.chart+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94" r:id="rId6"/>
  </p:sldMasterIdLst>
  <p:notesMasterIdLst>
    <p:notesMasterId r:id="rId26"/>
  </p:notesMasterIdLst>
  <p:handoutMasterIdLst>
    <p:handoutMasterId r:id="rId27"/>
  </p:handoutMasterIdLst>
  <p:sldIdLst>
    <p:sldId id="256" r:id="rId7"/>
    <p:sldId id="5744" r:id="rId8"/>
    <p:sldId id="5743" r:id="rId9"/>
    <p:sldId id="9162" r:id="rId10"/>
    <p:sldId id="5726" r:id="rId11"/>
    <p:sldId id="5732" r:id="rId12"/>
    <p:sldId id="5728" r:id="rId13"/>
    <p:sldId id="9163" r:id="rId14"/>
    <p:sldId id="9166" r:id="rId15"/>
    <p:sldId id="9167" r:id="rId16"/>
    <p:sldId id="5727" r:id="rId17"/>
    <p:sldId id="5745" r:id="rId18"/>
    <p:sldId id="5746" r:id="rId19"/>
    <p:sldId id="5747" r:id="rId20"/>
    <p:sldId id="9161" r:id="rId21"/>
    <p:sldId id="9160" r:id="rId22"/>
    <p:sldId id="5742" r:id="rId23"/>
    <p:sldId id="5740" r:id="rId24"/>
    <p:sldId id="5752" r:id="rId25"/>
  </p:sldIdLst>
  <p:sldSz cx="10058400" cy="7543800"/>
  <p:notesSz cx="6894513" cy="9180513"/>
  <p:custDataLst>
    <p:custData r:id="rId4"/>
    <p:custData r:id="rId5"/>
    <p:tags r:id="rId28"/>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kern="1200">
        <a:solidFill>
          <a:srgbClr val="000000"/>
        </a:solidFill>
        <a:latin typeface="Arial" charset="0"/>
        <a:ea typeface="+mn-ea"/>
        <a:cs typeface="Arial" charset="0"/>
      </a:defRPr>
    </a:lvl1pPr>
    <a:lvl2pPr marL="456790" algn="l" rtl="0" eaLnBrk="0" fontAlgn="base" hangingPunct="0">
      <a:spcBef>
        <a:spcPct val="0"/>
      </a:spcBef>
      <a:spcAft>
        <a:spcPct val="0"/>
      </a:spcAft>
      <a:defRPr kern="1200">
        <a:solidFill>
          <a:srgbClr val="000000"/>
        </a:solidFill>
        <a:latin typeface="Arial" charset="0"/>
        <a:ea typeface="+mn-ea"/>
        <a:cs typeface="Arial" charset="0"/>
      </a:defRPr>
    </a:lvl2pPr>
    <a:lvl3pPr marL="913579" algn="l" rtl="0" eaLnBrk="0" fontAlgn="base" hangingPunct="0">
      <a:spcBef>
        <a:spcPct val="0"/>
      </a:spcBef>
      <a:spcAft>
        <a:spcPct val="0"/>
      </a:spcAft>
      <a:defRPr kern="1200">
        <a:solidFill>
          <a:srgbClr val="000000"/>
        </a:solidFill>
        <a:latin typeface="Arial" charset="0"/>
        <a:ea typeface="+mn-ea"/>
        <a:cs typeface="Arial" charset="0"/>
      </a:defRPr>
    </a:lvl3pPr>
    <a:lvl4pPr marL="1370364" algn="l" rtl="0" eaLnBrk="0" fontAlgn="base" hangingPunct="0">
      <a:spcBef>
        <a:spcPct val="0"/>
      </a:spcBef>
      <a:spcAft>
        <a:spcPct val="0"/>
      </a:spcAft>
      <a:defRPr kern="1200">
        <a:solidFill>
          <a:srgbClr val="000000"/>
        </a:solidFill>
        <a:latin typeface="Arial" charset="0"/>
        <a:ea typeface="+mn-ea"/>
        <a:cs typeface="Arial" charset="0"/>
      </a:defRPr>
    </a:lvl4pPr>
    <a:lvl5pPr marL="1827156" algn="l" rtl="0" eaLnBrk="0" fontAlgn="base" hangingPunct="0">
      <a:spcBef>
        <a:spcPct val="0"/>
      </a:spcBef>
      <a:spcAft>
        <a:spcPct val="0"/>
      </a:spcAft>
      <a:defRPr kern="1200">
        <a:solidFill>
          <a:srgbClr val="000000"/>
        </a:solidFill>
        <a:latin typeface="Arial" charset="0"/>
        <a:ea typeface="+mn-ea"/>
        <a:cs typeface="Arial" charset="0"/>
      </a:defRPr>
    </a:lvl5pPr>
    <a:lvl6pPr marL="2283944" algn="l" defTabSz="913579" rtl="0" eaLnBrk="1" latinLnBrk="0" hangingPunct="1">
      <a:defRPr kern="1200">
        <a:solidFill>
          <a:srgbClr val="000000"/>
        </a:solidFill>
        <a:latin typeface="Arial" charset="0"/>
        <a:ea typeface="+mn-ea"/>
        <a:cs typeface="Arial" charset="0"/>
      </a:defRPr>
    </a:lvl6pPr>
    <a:lvl7pPr marL="2740731" algn="l" defTabSz="913579" rtl="0" eaLnBrk="1" latinLnBrk="0" hangingPunct="1">
      <a:defRPr kern="1200">
        <a:solidFill>
          <a:srgbClr val="000000"/>
        </a:solidFill>
        <a:latin typeface="Arial" charset="0"/>
        <a:ea typeface="+mn-ea"/>
        <a:cs typeface="Arial" charset="0"/>
      </a:defRPr>
    </a:lvl7pPr>
    <a:lvl8pPr marL="3197521" algn="l" defTabSz="913579" rtl="0" eaLnBrk="1" latinLnBrk="0" hangingPunct="1">
      <a:defRPr kern="1200">
        <a:solidFill>
          <a:srgbClr val="000000"/>
        </a:solidFill>
        <a:latin typeface="Arial" charset="0"/>
        <a:ea typeface="+mn-ea"/>
        <a:cs typeface="Arial" charset="0"/>
      </a:defRPr>
    </a:lvl8pPr>
    <a:lvl9pPr marL="3654310" algn="l" defTabSz="913579" rtl="0" eaLnBrk="1" latinLnBrk="0" hangingPunct="1">
      <a:defRPr kern="1200">
        <a:solidFill>
          <a:srgbClr val="000000"/>
        </a:solidFill>
        <a:latin typeface="Arial" charset="0"/>
        <a:ea typeface="+mn-ea"/>
        <a:cs typeface="Arial" charset="0"/>
      </a:defRPr>
    </a:lvl9pPr>
  </p:defaultTextStyle>
  <p:extLst>
    <p:ext uri="{EFAFB233-063F-42B5-8137-9DF3F51BA10A}">
      <p15:sldGuideLst xmlns:p15="http://schemas.microsoft.com/office/powerpoint/2012/main">
        <p15:guide id="2" orient="horz" pos="4122" userDrawn="1">
          <p15:clr>
            <a:srgbClr val="A4A3A4"/>
          </p15:clr>
        </p15:guide>
        <p15:guide id="5" pos="6139" userDrawn="1">
          <p15:clr>
            <a:srgbClr val="A4A3A4"/>
          </p15:clr>
        </p15:guide>
        <p15:guide id="6" pos="174" userDrawn="1">
          <p15:clr>
            <a:srgbClr val="A4A3A4"/>
          </p15:clr>
        </p15:guide>
      </p15:sldGuideLst>
    </p:ext>
    <p:ext uri="{2D200454-40CA-4A62-9FC3-DE9A4176ACB9}">
      <p15:notesGuideLst xmlns:p15="http://schemas.microsoft.com/office/powerpoint/2012/main">
        <p15:guide id="1" orient="horz" pos="2829" userDrawn="1">
          <p15:clr>
            <a:srgbClr val="A4A3A4"/>
          </p15:clr>
        </p15:guide>
        <p15:guide id="2" pos="2101" userDrawn="1">
          <p15:clr>
            <a:srgbClr val="A4A3A4"/>
          </p15:clr>
        </p15:guide>
        <p15:guide id="3" orient="horz" pos="2892" userDrawn="1">
          <p15:clr>
            <a:srgbClr val="A4A3A4"/>
          </p15:clr>
        </p15:guide>
        <p15:guide id="4" pos="217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Bonomo" initials="" lastIdx="8" clrIdx="0"/>
  <p:cmAuthor id="1" name="Deb Russell" initials="DR" lastIdx="25" clrIdx="1">
    <p:extLst>
      <p:ext uri="{19B8F6BF-5375-455C-9EA6-DF929625EA0E}">
        <p15:presenceInfo xmlns:p15="http://schemas.microsoft.com/office/powerpoint/2012/main" userId="S::deb@debrussellinc.com::5595fcca-e241-4254-a6e7-c1867289e5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3E3E6D"/>
    <a:srgbClr val="0000FF"/>
    <a:srgbClr val="0003EF"/>
    <a:srgbClr val="D9D9D9"/>
    <a:srgbClr val="838383"/>
    <a:srgbClr val="003399"/>
    <a:srgbClr val="4E786C"/>
    <a:srgbClr val="9EA8C6"/>
    <a:srgbClr val="D8AF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C95484-2609-2DB6-1BAB-01CB476DD023}" v="21" dt="2021-09-27T14:58:14.040"/>
    <p1510:client id="{BC9934D8-987B-4606-8FCD-A0A1F602F0D4}" v="37" dt="2021-09-22T08:28:10.672"/>
    <p1510:client id="{D313911F-F562-36EC-43C9-40DDA098DDD1}" v="112" dt="2021-09-27T21:27:13.885"/>
    <p1510:client id="{FF673988-3806-4172-A443-13E8E4CB1865}" v="4" dt="2021-09-27T15:07:29.8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19" autoAdjust="0"/>
    <p:restoredTop sz="94343" autoAdjust="0"/>
  </p:normalViewPr>
  <p:slideViewPr>
    <p:cSldViewPr>
      <p:cViewPr varScale="1">
        <p:scale>
          <a:sx n="104" d="100"/>
          <a:sy n="104" d="100"/>
        </p:scale>
        <p:origin x="1458" y="102"/>
      </p:cViewPr>
      <p:guideLst>
        <p:guide orient="horz" pos="4122"/>
        <p:guide pos="6139"/>
        <p:guide pos="174"/>
      </p:guideLst>
    </p:cSldViewPr>
  </p:slideViewPr>
  <p:outlineViewPr>
    <p:cViewPr>
      <p:scale>
        <a:sx n="33" d="100"/>
        <a:sy n="33" d="100"/>
      </p:scale>
      <p:origin x="0" y="-11304"/>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76" d="100"/>
          <a:sy n="76" d="100"/>
        </p:scale>
        <p:origin x="3496" y="200"/>
      </p:cViewPr>
      <p:guideLst>
        <p:guide orient="horz" pos="2829"/>
        <p:guide pos="2101"/>
        <p:guide orient="horz" pos="2892"/>
        <p:guide pos="2172"/>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93724097098876"/>
          <c:y val="4.0848389630793402E-2"/>
          <c:w val="0.69212551805802247"/>
          <c:h val="0.9183032207384132"/>
        </c:manualLayout>
      </c:layout>
      <c:pieChart>
        <c:varyColors val="0"/>
        <c:ser>
          <c:idx val="0"/>
          <c:order val="0"/>
          <c:dPt>
            <c:idx val="0"/>
            <c:bubble3D val="0"/>
            <c:spPr>
              <a:solidFill>
                <a:srgbClr val="00FF00"/>
              </a:solidFill>
              <a:ln>
                <a:noFill/>
              </a:ln>
            </c:spPr>
            <c:extLst>
              <c:ext xmlns:c16="http://schemas.microsoft.com/office/drawing/2014/chart" uri="{C3380CC4-5D6E-409C-BE32-E72D297353CC}">
                <c16:uniqueId val="{00000000-E485-4C29-891B-C3F7BC3D4285}"/>
              </c:ext>
            </c:extLst>
          </c:dPt>
          <c:dPt>
            <c:idx val="1"/>
            <c:bubble3D val="0"/>
            <c:spPr>
              <a:solidFill>
                <a:srgbClr val="3E3E6D"/>
              </a:solidFill>
              <a:ln>
                <a:noFill/>
              </a:ln>
            </c:spPr>
            <c:extLst>
              <c:ext xmlns:c16="http://schemas.microsoft.com/office/drawing/2014/chart" uri="{C3380CC4-5D6E-409C-BE32-E72D297353CC}">
                <c16:uniqueId val="{00000001-E485-4C29-891B-C3F7BC3D4285}"/>
              </c:ext>
            </c:extLst>
          </c:dPt>
          <c:dLbls>
            <c:dLbl>
              <c:idx val="0"/>
              <c:layout>
                <c:manualLayout>
                  <c:x val="6.0390763765541741E-2"/>
                  <c:y val="-0.1052631578947368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85-4C29-891B-C3F7BC3D4285}"/>
                </c:ext>
              </c:extLst>
            </c:dLbl>
            <c:dLbl>
              <c:idx val="1"/>
              <c:layout>
                <c:manualLayout>
                  <c:x val="-6.0390763765541741E-2"/>
                  <c:y val="0.1005498821681068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85-4C29-891B-C3F7BC3D42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21</c:v>
                </c:pt>
                <c:pt idx="1">
                  <c:v>79</c:v>
                </c:pt>
              </c:numCache>
            </c:numRef>
          </c:val>
          <c:extLst>
            <c:ext xmlns:c16="http://schemas.microsoft.com/office/drawing/2014/chart" uri="{C3380CC4-5D6E-409C-BE32-E72D297353CC}">
              <c16:uniqueId val="{00000002-E485-4C29-891B-C3F7BC3D428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9862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20110" y="4362642"/>
            <a:ext cx="5054296" cy="4127122"/>
          </a:xfrm>
          <a:prstGeom prst="rect">
            <a:avLst/>
          </a:prstGeom>
          <a:noFill/>
          <a:ln w="12700">
            <a:noFill/>
            <a:miter lim="800000"/>
            <a:headEnd/>
            <a:tailEnd/>
          </a:ln>
        </p:spPr>
        <p:txBody>
          <a:bodyPr vert="horz" wrap="square" lIns="87045" tIns="42757" rIns="87045" bIns="42757"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1987" name="Rectangle 3"/>
          <p:cNvSpPr>
            <a:spLocks noGrp="1" noRot="1" noChangeAspect="1" noChangeArrowheads="1" noTextEdit="1"/>
          </p:cNvSpPr>
          <p:nvPr>
            <p:ph type="sldImg" idx="2"/>
          </p:nvPr>
        </p:nvSpPr>
        <p:spPr bwMode="auto">
          <a:xfrm>
            <a:off x="850900" y="460375"/>
            <a:ext cx="5199063" cy="3900488"/>
          </a:xfrm>
          <a:prstGeom prst="rect">
            <a:avLst/>
          </a:prstGeom>
          <a:noFill/>
          <a:ln w="12700">
            <a:solidFill>
              <a:schemeClr val="tx1"/>
            </a:solidFill>
            <a:miter lim="800000"/>
            <a:headEnd/>
            <a:tailEnd/>
          </a:ln>
        </p:spPr>
      </p:sp>
    </p:spTree>
    <p:extLst>
      <p:ext uri="{BB962C8B-B14F-4D97-AF65-F5344CB8AC3E}">
        <p14:creationId xmlns:p14="http://schemas.microsoft.com/office/powerpoint/2010/main" val="32352197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1pPr>
    <a:lvl2pPr marL="45679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2pPr>
    <a:lvl3pPr marL="913579"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3pPr>
    <a:lvl4pPr marL="1370364"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4pPr>
    <a:lvl5pPr marL="1827156"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5pPr>
    <a:lvl6pPr marL="2283944" algn="l" defTabSz="913579" rtl="0" eaLnBrk="1" latinLnBrk="0" hangingPunct="1">
      <a:defRPr sz="1200" kern="1200">
        <a:solidFill>
          <a:schemeClr val="tx1"/>
        </a:solidFill>
        <a:latin typeface="+mn-lt"/>
        <a:ea typeface="+mn-ea"/>
        <a:cs typeface="+mn-cs"/>
      </a:defRPr>
    </a:lvl6pPr>
    <a:lvl7pPr marL="2740731" algn="l" defTabSz="913579" rtl="0" eaLnBrk="1" latinLnBrk="0" hangingPunct="1">
      <a:defRPr sz="1200" kern="1200">
        <a:solidFill>
          <a:schemeClr val="tx1"/>
        </a:solidFill>
        <a:latin typeface="+mn-lt"/>
        <a:ea typeface="+mn-ea"/>
        <a:cs typeface="+mn-cs"/>
      </a:defRPr>
    </a:lvl7pPr>
    <a:lvl8pPr marL="3197521" algn="l" defTabSz="913579" rtl="0" eaLnBrk="1" latinLnBrk="0" hangingPunct="1">
      <a:defRPr sz="1200" kern="1200">
        <a:solidFill>
          <a:schemeClr val="tx1"/>
        </a:solidFill>
        <a:latin typeface="+mn-lt"/>
        <a:ea typeface="+mn-ea"/>
        <a:cs typeface="+mn-cs"/>
      </a:defRPr>
    </a:lvl8pPr>
    <a:lvl9pPr marL="3654310" algn="l" defTabSz="913579"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777CCA-F46F-4B0E-A849-E144825526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532" imgH="530" progId="TCLayout.ActiveDocument.1">
                  <p:embed/>
                </p:oleObj>
              </mc:Choice>
              <mc:Fallback>
                <p:oleObj name="think-cell Slide" r:id="rId5" imgW="532" imgH="530" progId="TCLayout.ActiveDocument.1">
                  <p:embed/>
                  <p:pic>
                    <p:nvPicPr>
                      <p:cNvPr id="3" name="Object 2" hidden="1">
                        <a:extLst>
                          <a:ext uri="{FF2B5EF4-FFF2-40B4-BE49-F238E27FC236}">
                            <a16:creationId xmlns:a16="http://schemas.microsoft.com/office/drawing/2014/main" id="{EC777CCA-F46F-4B0E-A849-E144825526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73AF46-0C11-47E0-A655-F06439305F00}"/>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1993732" name="Rectangle 4"/>
          <p:cNvSpPr>
            <a:spLocks noGrp="1" noChangeArrowheads="1"/>
          </p:cNvSpPr>
          <p:nvPr>
            <p:ph type="subTitle" idx="1"/>
          </p:nvPr>
        </p:nvSpPr>
        <p:spPr bwMode="gray">
          <a:xfrm>
            <a:off x="1927226" y="3970338"/>
            <a:ext cx="6205537" cy="296862"/>
          </a:xfrm>
          <a:prstGeom prst="rect">
            <a:avLst/>
          </a:prstGeom>
        </p:spPr>
        <p:txBody>
          <a:bodyPr anchorCtr="0"/>
          <a:lstStyle>
            <a:lvl1pPr marL="0" indent="0" algn="ctr">
              <a:buFont typeface="Wingdings" pitchFamily="2" charset="2"/>
              <a:buNone/>
              <a:defRPr sz="2000">
                <a:solidFill>
                  <a:srgbClr val="00FF00"/>
                </a:solidFill>
              </a:defRPr>
            </a:lvl1pPr>
          </a:lstStyle>
          <a:p>
            <a:r>
              <a:rPr lang="en-US" altLang="en-US" dirty="0"/>
              <a:t>Click to edit Master subtitle style</a:t>
            </a:r>
          </a:p>
        </p:txBody>
      </p:sp>
      <p:sp>
        <p:nvSpPr>
          <p:cNvPr id="1993733" name="Rectangle 5"/>
          <p:cNvSpPr>
            <a:spLocks noGrp="1" noChangeArrowheads="1"/>
          </p:cNvSpPr>
          <p:nvPr>
            <p:ph type="ctrTitle"/>
          </p:nvPr>
        </p:nvSpPr>
        <p:spPr>
          <a:xfrm>
            <a:off x="1927226" y="3527425"/>
            <a:ext cx="6205537" cy="295275"/>
          </a:xfrm>
        </p:spPr>
        <p:txBody>
          <a:bodyPr bIns="0" anchor="ctr"/>
          <a:lstStyle>
            <a:lvl1pPr>
              <a:defRPr/>
            </a:lvl1pPr>
          </a:lstStyle>
          <a:p>
            <a:r>
              <a:rPr lang="en-US" altLang="en-US" dirty="0"/>
              <a:t>Click to edit Master title style</a:t>
            </a:r>
          </a:p>
        </p:txBody>
      </p:sp>
      <p:sp>
        <p:nvSpPr>
          <p:cNvPr id="1993734" name="Text Box 6"/>
          <p:cNvSpPr txBox="1">
            <a:spLocks noChangeArrowheads="1"/>
          </p:cNvSpPr>
          <p:nvPr/>
        </p:nvSpPr>
        <p:spPr bwMode="auto">
          <a:xfrm>
            <a:off x="2070100" y="812800"/>
            <a:ext cx="457200" cy="303213"/>
          </a:xfrm>
          <a:prstGeom prst="rect">
            <a:avLst/>
          </a:prstGeom>
          <a:noFill/>
          <a:ln w="12700">
            <a:noFill/>
            <a:miter lim="800000"/>
            <a:headEnd/>
            <a:tailEnd/>
          </a:ln>
          <a:effectLst/>
        </p:spPr>
        <p:txBody>
          <a:bodyPr wrap="none" lIns="228510" tIns="45702" rIns="228510" bIns="45702">
            <a:spAutoFit/>
          </a:bodyPr>
          <a:lstStyle/>
          <a:p>
            <a:pPr algn="l"/>
            <a:endParaRPr lang="en-US" b="0"/>
          </a:p>
        </p:txBody>
      </p:sp>
      <p:sp>
        <p:nvSpPr>
          <p:cNvPr id="1993735" name="Text Box 7"/>
          <p:cNvSpPr txBox="1">
            <a:spLocks noChangeArrowheads="1"/>
          </p:cNvSpPr>
          <p:nvPr/>
        </p:nvSpPr>
        <p:spPr bwMode="gray">
          <a:xfrm>
            <a:off x="6426200" y="7134225"/>
            <a:ext cx="2960688" cy="195263"/>
          </a:xfrm>
          <a:prstGeom prst="rect">
            <a:avLst/>
          </a:prstGeom>
          <a:noFill/>
          <a:ln w="12700">
            <a:noFill/>
            <a:miter lim="800000"/>
            <a:headEnd/>
            <a:tailEnd/>
          </a:ln>
          <a:effectLst/>
        </p:spPr>
        <p:txBody>
          <a:bodyPr lIns="35985" tIns="35985" rIns="35985" bIns="35985" anchor="ctr">
            <a:spAutoFit/>
          </a:bodyPr>
          <a:lstStyle/>
          <a:p>
            <a:pPr algn="r">
              <a:spcBef>
                <a:spcPct val="30000"/>
              </a:spcBef>
            </a:pPr>
            <a:endParaRPr lang="en-GB" sz="800" b="0">
              <a:solidFill>
                <a:schemeClr val="tx1"/>
              </a:solidFill>
            </a:endParaRPr>
          </a:p>
        </p:txBody>
      </p:sp>
      <p:sp>
        <p:nvSpPr>
          <p:cNvPr id="1993738" name="Line 10"/>
          <p:cNvSpPr>
            <a:spLocks noChangeShapeType="1"/>
          </p:cNvSpPr>
          <p:nvPr/>
        </p:nvSpPr>
        <p:spPr bwMode="black">
          <a:xfrm>
            <a:off x="306388" y="7011988"/>
            <a:ext cx="9447212" cy="0"/>
          </a:xfrm>
          <a:prstGeom prst="line">
            <a:avLst/>
          </a:prstGeom>
          <a:noFill/>
          <a:ln w="6350">
            <a:solidFill>
              <a:srgbClr val="00FF00"/>
            </a:solidFill>
            <a:round/>
            <a:headEnd/>
            <a:tailEnd/>
          </a:ln>
          <a:effectLst/>
        </p:spPr>
        <p:txBody>
          <a:bodyPr wrap="none" anchor="ctr"/>
          <a:lstStyle/>
          <a:p>
            <a:endParaRPr lang="en-US"/>
          </a:p>
        </p:txBody>
      </p:sp>
      <p:pic>
        <p:nvPicPr>
          <p:cNvPr id="14" name="Picture 2">
            <a:extLst>
              <a:ext uri="{FF2B5EF4-FFF2-40B4-BE49-F238E27FC236}">
                <a16:creationId xmlns:a16="http://schemas.microsoft.com/office/drawing/2014/main" id="{87C4342A-5B26-492D-A26E-AB6AFAFD5E64}"/>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p:blipFill>
        <p:spPr bwMode="auto">
          <a:xfrm>
            <a:off x="8383122" y="7048500"/>
            <a:ext cx="1239846" cy="4572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7E6E862E-B3A2-41FC-B279-DA57AC4B62A6}"/>
              </a:ext>
            </a:extLst>
          </p:cNvPr>
          <p:cNvSpPr txBox="1"/>
          <p:nvPr userDrawn="1"/>
        </p:nvSpPr>
        <p:spPr>
          <a:xfrm>
            <a:off x="2935917" y="7123212"/>
            <a:ext cx="4186566"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James Emmett and Co. 2021</a:t>
            </a:r>
          </a:p>
        </p:txBody>
      </p:sp>
    </p:spTree>
    <p:extLst>
      <p:ext uri="{BB962C8B-B14F-4D97-AF65-F5344CB8AC3E}">
        <p14:creationId xmlns:p14="http://schemas.microsoft.com/office/powerpoint/2010/main" val="42753931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 1/3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16354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Text Placeholder 4">
            <a:extLst>
              <a:ext uri="{FF2B5EF4-FFF2-40B4-BE49-F238E27FC236}">
                <a16:creationId xmlns:a16="http://schemas.microsoft.com/office/drawing/2014/main" id="{59A5243D-EEFF-4325-8DF0-38868474D4CC}"/>
              </a:ext>
            </a:extLst>
          </p:cNvPr>
          <p:cNvSpPr>
            <a:spLocks noGrp="1"/>
          </p:cNvSpPr>
          <p:nvPr>
            <p:ph type="body" sz="quarter" idx="15" hasCustomPrompt="1"/>
          </p:nvPr>
        </p:nvSpPr>
        <p:spPr>
          <a:xfrm>
            <a:off x="6736080" y="1863688"/>
            <a:ext cx="301752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2 Title</a:t>
            </a:r>
          </a:p>
        </p:txBody>
      </p:sp>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06388" y="1863688"/>
            <a:ext cx="6232365"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1 Title</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8" y="2234745"/>
            <a:ext cx="6232365" cy="0"/>
          </a:xfrm>
          <a:prstGeom prst="line">
            <a:avLst/>
          </a:prstGeom>
          <a:noFill/>
          <a:ln w="12700">
            <a:solidFill>
              <a:srgbClr val="00FF00"/>
            </a:solidFill>
            <a:round/>
            <a:headEnd/>
            <a:tailEnd/>
          </a:ln>
          <a:effectLst/>
        </p:spPr>
        <p:txBody>
          <a:bodyPr/>
          <a:lstStyle/>
          <a:p>
            <a:endParaRPr lang="en-US" dirty="0"/>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06389" y="987552"/>
            <a:ext cx="9447211" cy="457200"/>
          </a:xfrm>
          <a:prstGeom prst="rect">
            <a:avLst/>
          </a:prstGeom>
        </p:spPr>
        <p:txBody>
          <a:bodyPr/>
          <a:lstStyle>
            <a:lvl1pPr marL="0" indent="0">
              <a:buNone/>
              <a:defRPr sz="1800" b="1"/>
            </a:lvl1pPr>
          </a:lstStyle>
          <a:p>
            <a:pPr lvl="0"/>
            <a:r>
              <a:rPr lang="en-US" dirty="0"/>
              <a:t>[Insert Insight Here]</a:t>
            </a:r>
          </a:p>
        </p:txBody>
      </p:sp>
      <p:sp>
        <p:nvSpPr>
          <p:cNvPr id="15" name="Line 6">
            <a:extLst>
              <a:ext uri="{FF2B5EF4-FFF2-40B4-BE49-F238E27FC236}">
                <a16:creationId xmlns:a16="http://schemas.microsoft.com/office/drawing/2014/main" id="{87C244B2-2992-4532-AD0F-B51AB490477B}"/>
              </a:ext>
            </a:extLst>
          </p:cNvPr>
          <p:cNvSpPr>
            <a:spLocks noChangeShapeType="1"/>
          </p:cNvSpPr>
          <p:nvPr userDrawn="1"/>
        </p:nvSpPr>
        <p:spPr bwMode="auto">
          <a:xfrm>
            <a:off x="6736080" y="2234745"/>
            <a:ext cx="3017520" cy="0"/>
          </a:xfrm>
          <a:prstGeom prst="line">
            <a:avLst/>
          </a:prstGeom>
          <a:noFill/>
          <a:ln w="12700">
            <a:solidFill>
              <a:srgbClr val="00FF00"/>
            </a:solidFill>
            <a:round/>
            <a:headEnd/>
            <a:tailEnd/>
          </a:ln>
          <a:effectLst/>
        </p:spPr>
        <p:txBody>
          <a:bodyPr/>
          <a:lstStyle/>
          <a:p>
            <a:endParaRPr lang="en-US" dirty="0"/>
          </a:p>
        </p:txBody>
      </p:sp>
    </p:spTree>
    <p:extLst>
      <p:ext uri="{BB962C8B-B14F-4D97-AF65-F5344CB8AC3E}">
        <p14:creationId xmlns:p14="http://schemas.microsoft.com/office/powerpoint/2010/main" val="2736723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98CBC7-1B31-456C-AB46-003977E1E3E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6C98CBC7-1B31-456C-AB46-003977E1E3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16F16B-9850-4277-BD5E-1971AB5B6819}"/>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69E72A28-C0D5-48A6-A21C-ACD10DE76816}"/>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6" name="Text Placeholder 8">
            <a:extLst>
              <a:ext uri="{FF2B5EF4-FFF2-40B4-BE49-F238E27FC236}">
                <a16:creationId xmlns:a16="http://schemas.microsoft.com/office/drawing/2014/main" id="{B3ECF57D-3966-47FF-8F2C-0B65FF2787A5}"/>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7" name="Text Placeholder 6">
            <a:extLst>
              <a:ext uri="{FF2B5EF4-FFF2-40B4-BE49-F238E27FC236}">
                <a16:creationId xmlns:a16="http://schemas.microsoft.com/office/drawing/2014/main" id="{D0B155D4-AAF5-472B-AF65-B26AD02E7B2D}"/>
              </a:ext>
            </a:extLst>
          </p:cNvPr>
          <p:cNvSpPr>
            <a:spLocks noGrp="1"/>
          </p:cNvSpPr>
          <p:nvPr>
            <p:ph type="body" sz="quarter" idx="12" hasCustomPrompt="1"/>
          </p:nvPr>
        </p:nvSpPr>
        <p:spPr>
          <a:xfrm>
            <a:off x="306387" y="1071600"/>
            <a:ext cx="9447213" cy="4932548"/>
          </a:xfrm>
          <a:prstGeom prst="rect">
            <a:avLst/>
          </a:prstGeom>
        </p:spPr>
        <p:txBody>
          <a:bodyPr/>
          <a:lstStyle>
            <a:lvl1pPr>
              <a:defRPr sz="1600"/>
            </a:lvl1pPr>
            <a:lvl2pPr marL="225425" indent="0">
              <a:buNone/>
              <a:defRPr sz="1600"/>
            </a:lvl2pPr>
          </a:lstStyle>
          <a:p>
            <a:pPr marL="168275" indent="-177800">
              <a:lnSpc>
                <a:spcPct val="95000"/>
              </a:lnSpc>
              <a:spcBef>
                <a:spcPts val="0"/>
              </a:spcBef>
              <a:spcAft>
                <a:spcPts val="200"/>
              </a:spcAft>
            </a:pPr>
            <a:r>
              <a:rPr lang="en-US" b="1" kern="0" dirty="0">
                <a:solidFill>
                  <a:srgbClr val="000000"/>
                </a:solidFill>
              </a:rPr>
              <a:t>All headers should be:  24pt</a:t>
            </a:r>
          </a:p>
          <a:p>
            <a:pPr marL="168275" indent="-177800">
              <a:lnSpc>
                <a:spcPct val="95000"/>
              </a:lnSpc>
              <a:spcBef>
                <a:spcPts val="0"/>
              </a:spcBef>
              <a:spcAft>
                <a:spcPts val="200"/>
              </a:spcAft>
            </a:pPr>
            <a:r>
              <a:rPr lang="en-US" b="1" kern="0" dirty="0">
                <a:solidFill>
                  <a:srgbClr val="000000"/>
                </a:solidFill>
              </a:rPr>
              <a:t>Insights and Chart/Section Titles:  18pt</a:t>
            </a:r>
          </a:p>
          <a:p>
            <a:pPr marL="168275" indent="-177800">
              <a:lnSpc>
                <a:spcPct val="95000"/>
              </a:lnSpc>
              <a:spcBef>
                <a:spcPts val="0"/>
              </a:spcBef>
              <a:spcAft>
                <a:spcPts val="200"/>
              </a:spcAft>
            </a:pPr>
            <a:r>
              <a:rPr lang="en-US" b="1" kern="0" dirty="0">
                <a:solidFill>
                  <a:srgbClr val="000000"/>
                </a:solidFill>
              </a:rPr>
              <a:t>Footers/source:  9pt </a:t>
            </a:r>
          </a:p>
          <a:p>
            <a:pPr marL="168275" indent="-177800">
              <a:lnSpc>
                <a:spcPct val="95000"/>
              </a:lnSpc>
              <a:spcBef>
                <a:spcPts val="0"/>
              </a:spcBef>
              <a:spcAft>
                <a:spcPts val="200"/>
              </a:spcAft>
            </a:pPr>
            <a:r>
              <a:rPr lang="en-US" b="1" kern="0" dirty="0">
                <a:solidFill>
                  <a:srgbClr val="000000"/>
                </a:solidFill>
              </a:rPr>
              <a:t>and text either:  12pt or 14pt</a:t>
            </a:r>
          </a:p>
          <a:p>
            <a:pPr marL="168275" indent="-177800">
              <a:lnSpc>
                <a:spcPct val="95000"/>
              </a:lnSpc>
              <a:spcBef>
                <a:spcPts val="0"/>
              </a:spcBef>
              <a:spcAft>
                <a:spcPts val="200"/>
              </a:spcAft>
            </a:pPr>
            <a:endParaRPr lang="en-US" sz="1400" b="1" kern="0" dirty="0">
              <a:solidFill>
                <a:srgbClr val="000000"/>
              </a:solidFill>
            </a:endParaRPr>
          </a:p>
          <a:p>
            <a:pPr marL="168275" indent="-177800">
              <a:lnSpc>
                <a:spcPct val="95000"/>
              </a:lnSpc>
              <a:spcBef>
                <a:spcPts val="0"/>
              </a:spcBef>
              <a:spcAft>
                <a:spcPts val="200"/>
              </a:spcAft>
            </a:pPr>
            <a:r>
              <a:rPr lang="en-US" sz="1400" b="1" kern="0" dirty="0">
                <a:solidFill>
                  <a:srgbClr val="000000"/>
                </a:solidFill>
              </a:rPr>
              <a:t>All font is ARIAL!!!</a:t>
            </a:r>
          </a:p>
          <a:p>
            <a:pPr marL="168275" indent="-177800">
              <a:lnSpc>
                <a:spcPct val="95000"/>
              </a:lnSpc>
              <a:spcBef>
                <a:spcPts val="0"/>
              </a:spcBef>
              <a:spcAft>
                <a:spcPts val="200"/>
              </a:spcAft>
            </a:pPr>
            <a:endParaRPr lang="en-US" sz="1400" kern="0" dirty="0">
              <a:solidFill>
                <a:srgbClr val="000000"/>
              </a:solidFill>
            </a:endParaRPr>
          </a:p>
          <a:p>
            <a:pPr marL="460375" lvl="1" indent="-225425">
              <a:lnSpc>
                <a:spcPct val="95000"/>
              </a:lnSpc>
              <a:spcBef>
                <a:spcPts val="0"/>
              </a:spcBef>
              <a:spcAft>
                <a:spcPts val="200"/>
              </a:spcAft>
            </a:pPr>
            <a:endParaRPr lang="en-US" sz="500" kern="0" dirty="0">
              <a:solidFill>
                <a:srgbClr val="000000"/>
              </a:solidFill>
            </a:endParaRPr>
          </a:p>
          <a:p>
            <a:pPr marL="225425" indent="-225425">
              <a:lnSpc>
                <a:spcPct val="95000"/>
              </a:lnSpc>
              <a:spcBef>
                <a:spcPts val="0"/>
              </a:spcBef>
              <a:spcAft>
                <a:spcPts val="200"/>
              </a:spcAft>
            </a:pPr>
            <a:r>
              <a:rPr lang="en-US" b="1" kern="0" dirty="0">
                <a:solidFill>
                  <a:srgbClr val="000000"/>
                </a:solidFill>
              </a:rPr>
              <a:t>All bullets are blue</a:t>
            </a:r>
          </a:p>
          <a:p>
            <a:pPr marL="403225" lvl="1" indent="-177800">
              <a:lnSpc>
                <a:spcPct val="95000"/>
              </a:lnSpc>
              <a:spcBef>
                <a:spcPts val="0"/>
              </a:spcBef>
              <a:spcAft>
                <a:spcPts val="200"/>
              </a:spcAft>
            </a:pPr>
            <a:r>
              <a:rPr lang="en-US" sz="1400" kern="0" dirty="0">
                <a:solidFill>
                  <a:srgbClr val="000000"/>
                </a:solidFill>
              </a:rPr>
              <a:t>Sub-Bullet 1</a:t>
            </a:r>
          </a:p>
          <a:p>
            <a:pPr marL="403225" lvl="1" indent="-177800">
              <a:lnSpc>
                <a:spcPct val="95000"/>
              </a:lnSpc>
              <a:spcBef>
                <a:spcPts val="0"/>
              </a:spcBef>
              <a:spcAft>
                <a:spcPts val="200"/>
              </a:spcAft>
            </a:pPr>
            <a:r>
              <a:rPr lang="en-US" sz="1400" kern="0" dirty="0">
                <a:solidFill>
                  <a:srgbClr val="000000"/>
                </a:solidFill>
              </a:rPr>
              <a:t>Sub-Bullet 2</a:t>
            </a:r>
          </a:p>
          <a:p>
            <a:pPr marL="460375" lvl="1" indent="-225425">
              <a:lnSpc>
                <a:spcPct val="95000"/>
              </a:lnSpc>
              <a:spcBef>
                <a:spcPts val="0"/>
              </a:spcBef>
              <a:spcAft>
                <a:spcPts val="200"/>
              </a:spcAft>
            </a:pPr>
            <a:endParaRPr lang="en-US" sz="500" kern="0" dirty="0">
              <a:solidFill>
                <a:srgbClr val="000000"/>
              </a:solidFill>
            </a:endParaRPr>
          </a:p>
          <a:p>
            <a:pPr marL="225425" indent="-225425">
              <a:lnSpc>
                <a:spcPct val="95000"/>
              </a:lnSpc>
              <a:spcBef>
                <a:spcPts val="0"/>
              </a:spcBef>
              <a:spcAft>
                <a:spcPts val="200"/>
              </a:spcAft>
            </a:pPr>
            <a:r>
              <a:rPr lang="en-US" b="1" kern="0" dirty="0">
                <a:solidFill>
                  <a:srgbClr val="000000"/>
                </a:solidFill>
              </a:rPr>
              <a:t>Third Section</a:t>
            </a:r>
          </a:p>
          <a:p>
            <a:pPr marL="403225" lvl="1" indent="-177800">
              <a:lnSpc>
                <a:spcPct val="95000"/>
              </a:lnSpc>
              <a:spcBef>
                <a:spcPts val="0"/>
              </a:spcBef>
              <a:spcAft>
                <a:spcPts val="200"/>
              </a:spcAft>
            </a:pPr>
            <a:r>
              <a:rPr lang="en-US" sz="1400" kern="0" dirty="0">
                <a:solidFill>
                  <a:srgbClr val="000000"/>
                </a:solidFill>
              </a:rPr>
              <a:t>Sub-Bullet 1</a:t>
            </a:r>
          </a:p>
          <a:p>
            <a:pPr marL="403225" lvl="1" indent="-177800">
              <a:lnSpc>
                <a:spcPct val="95000"/>
              </a:lnSpc>
              <a:spcBef>
                <a:spcPts val="0"/>
              </a:spcBef>
              <a:spcAft>
                <a:spcPts val="200"/>
              </a:spcAft>
            </a:pPr>
            <a:r>
              <a:rPr lang="en-US" sz="1400" kern="0" dirty="0">
                <a:solidFill>
                  <a:srgbClr val="000000"/>
                </a:solidFill>
              </a:rPr>
              <a:t>Sub-Bullet 2</a:t>
            </a:r>
          </a:p>
          <a:p>
            <a:pPr marL="225425" indent="-225425">
              <a:lnSpc>
                <a:spcPct val="95000"/>
              </a:lnSpc>
              <a:spcBef>
                <a:spcPts val="0"/>
              </a:spcBef>
              <a:spcAft>
                <a:spcPts val="200"/>
              </a:spcAft>
            </a:pPr>
            <a:endParaRPr lang="en-US" sz="500" b="1" kern="0" dirty="0">
              <a:solidFill>
                <a:srgbClr val="000000"/>
              </a:solidFill>
            </a:endParaRPr>
          </a:p>
          <a:p>
            <a:pPr marL="225425" indent="-225425">
              <a:lnSpc>
                <a:spcPct val="95000"/>
              </a:lnSpc>
              <a:spcBef>
                <a:spcPts val="0"/>
              </a:spcBef>
              <a:spcAft>
                <a:spcPts val="200"/>
              </a:spcAft>
            </a:pPr>
            <a:r>
              <a:rPr lang="en-US" b="1" kern="0" dirty="0">
                <a:solidFill>
                  <a:srgbClr val="000000"/>
                </a:solidFill>
              </a:rPr>
              <a:t>Fourth Section</a:t>
            </a:r>
          </a:p>
          <a:p>
            <a:pPr marL="403225" lvl="1" indent="-177800">
              <a:lnSpc>
                <a:spcPct val="95000"/>
              </a:lnSpc>
              <a:spcBef>
                <a:spcPts val="0"/>
              </a:spcBef>
              <a:spcAft>
                <a:spcPts val="200"/>
              </a:spcAft>
            </a:pPr>
            <a:r>
              <a:rPr lang="en-US" sz="1400" kern="0" dirty="0">
                <a:solidFill>
                  <a:srgbClr val="000000"/>
                </a:solidFill>
              </a:rPr>
              <a:t>Sub-Bullet 1</a:t>
            </a:r>
          </a:p>
          <a:p>
            <a:pPr marL="403225" lvl="1" indent="-177800">
              <a:lnSpc>
                <a:spcPct val="95000"/>
              </a:lnSpc>
              <a:spcBef>
                <a:spcPts val="0"/>
              </a:spcBef>
              <a:spcAft>
                <a:spcPts val="200"/>
              </a:spcAft>
            </a:pPr>
            <a:r>
              <a:rPr lang="en-US" sz="1400" kern="0" dirty="0">
                <a:solidFill>
                  <a:srgbClr val="000000"/>
                </a:solidFill>
              </a:rPr>
              <a:t>Sub-Bullet 2</a:t>
            </a:r>
          </a:p>
        </p:txBody>
      </p:sp>
    </p:spTree>
    <p:extLst>
      <p:ext uri="{BB962C8B-B14F-4D97-AF65-F5344CB8AC3E}">
        <p14:creationId xmlns:p14="http://schemas.microsoft.com/office/powerpoint/2010/main" val="245653277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sight with Sour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50153D9-F9F6-4742-BA12-98868A2A80C7}"/>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0" name="Text Placeholder 11">
            <a:extLst>
              <a:ext uri="{FF2B5EF4-FFF2-40B4-BE49-F238E27FC236}">
                <a16:creationId xmlns:a16="http://schemas.microsoft.com/office/drawing/2014/main" id="{9389C976-4C19-46B4-B8BF-5C61855A144E}"/>
              </a:ext>
            </a:extLst>
          </p:cNvPr>
          <p:cNvSpPr>
            <a:spLocks noGrp="1"/>
          </p:cNvSpPr>
          <p:nvPr>
            <p:ph type="body" sz="quarter" idx="13" hasCustomPrompt="1"/>
          </p:nvPr>
        </p:nvSpPr>
        <p:spPr>
          <a:xfrm>
            <a:off x="306389" y="987552"/>
            <a:ext cx="9447212" cy="457200"/>
          </a:xfrm>
          <a:prstGeom prst="rect">
            <a:avLst/>
          </a:prstGeom>
        </p:spPr>
        <p:txBody>
          <a:bodyPr/>
          <a:lstStyle>
            <a:lvl1pPr marL="0" indent="0">
              <a:buNone/>
              <a:defRPr sz="1800" b="1"/>
            </a:lvl1pPr>
          </a:lstStyle>
          <a:p>
            <a:pPr lvl="0"/>
            <a:r>
              <a:rPr lang="en-US" dirty="0"/>
              <a:t>[Insert Insight Here]</a:t>
            </a:r>
          </a:p>
        </p:txBody>
      </p:sp>
    </p:spTree>
    <p:extLst>
      <p:ext uri="{BB962C8B-B14F-4D97-AF65-F5344CB8AC3E}">
        <p14:creationId xmlns:p14="http://schemas.microsoft.com/office/powerpoint/2010/main" val="4059097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8442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B34F894-16CC-4EB9-9FD6-2BE517EE1419}"/>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6" name="TextBox 5">
            <a:extLst>
              <a:ext uri="{FF2B5EF4-FFF2-40B4-BE49-F238E27FC236}">
                <a16:creationId xmlns:a16="http://schemas.microsoft.com/office/drawing/2014/main" id="{1190A271-B45A-4B77-8C9D-3F8BAE58919A}"/>
              </a:ext>
            </a:extLst>
          </p:cNvPr>
          <p:cNvSpPr txBox="1"/>
          <p:nvPr userDrawn="1"/>
        </p:nvSpPr>
        <p:spPr>
          <a:xfrm>
            <a:off x="2935917" y="7090410"/>
            <a:ext cx="4186566" cy="381000"/>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James Emmett and Co. 2021</a:t>
            </a:r>
          </a:p>
        </p:txBody>
      </p:sp>
    </p:spTree>
    <p:extLst>
      <p:ext uri="{BB962C8B-B14F-4D97-AF65-F5344CB8AC3E}">
        <p14:creationId xmlns:p14="http://schemas.microsoft.com/office/powerpoint/2010/main" val="2995614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6719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7573ADD-0198-4B86-85F5-9E5C4673F9FC}"/>
              </a:ext>
            </a:extLst>
          </p:cNvPr>
          <p:cNvSpPr>
            <a:spLocks noGrp="1"/>
          </p:cNvSpPr>
          <p:nvPr>
            <p:ph type="body" sz="quarter" idx="12" hasCustomPrompt="1"/>
          </p:nvPr>
        </p:nvSpPr>
        <p:spPr>
          <a:xfrm>
            <a:off x="312610" y="1719072"/>
            <a:ext cx="9445752" cy="276999"/>
          </a:xfrm>
          <a:prstGeom prst="rect">
            <a:avLst/>
          </a:prstGeom>
          <a:noFill/>
          <a:ln w="12700">
            <a:noFill/>
            <a:miter lim="800000"/>
            <a:headEnd/>
            <a:tailEnd/>
          </a:ln>
          <a:effectLst/>
        </p:spPr>
        <p:txBody>
          <a:bodyPr wrap="square" lIns="0" tIns="0" rIns="0" bIns="0" anchor="b" anchorCtr="1">
            <a:spAutoFit/>
          </a:bodyPr>
          <a:lstStyle>
            <a:lvl1pPr marL="0" indent="0">
              <a:buNone/>
              <a:defRPr lang="en-US" sz="1800" b="1" i="1" kern="1200" dirty="0">
                <a:solidFill>
                  <a:srgbClr val="0000FF"/>
                </a:solidFill>
                <a:latin typeface="Arial" charset="0"/>
                <a:cs typeface="Arial" charset="0"/>
              </a:defRPr>
            </a:lvl1pPr>
          </a:lstStyle>
          <a:p>
            <a:pPr marL="230188" lvl="0" indent="-230188" algn="ctr" eaLnBrk="0" hangingPunct="0">
              <a:buClr>
                <a:schemeClr val="tx2"/>
              </a:buClr>
            </a:pPr>
            <a:r>
              <a:rPr lang="en-US" dirty="0"/>
              <a:t>Chart Title</a:t>
            </a:r>
          </a:p>
        </p:txBody>
      </p:sp>
      <p:sp>
        <p:nvSpPr>
          <p:cNvPr id="3" name="Rectangle 2" hidden="1">
            <a:extLst>
              <a:ext uri="{FF2B5EF4-FFF2-40B4-BE49-F238E27FC236}">
                <a16:creationId xmlns:a16="http://schemas.microsoft.com/office/drawing/2014/main" id="{750153D9-F9F6-4742-BA12-98868A2A80C7}"/>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1" name="Line 6">
            <a:extLst>
              <a:ext uri="{FF2B5EF4-FFF2-40B4-BE49-F238E27FC236}">
                <a16:creationId xmlns:a16="http://schemas.microsoft.com/office/drawing/2014/main" id="{F8C5FE95-0595-425A-989D-25A4CD8E2139}"/>
              </a:ext>
            </a:extLst>
          </p:cNvPr>
          <p:cNvSpPr>
            <a:spLocks noChangeShapeType="1"/>
          </p:cNvSpPr>
          <p:nvPr userDrawn="1"/>
        </p:nvSpPr>
        <p:spPr bwMode="auto">
          <a:xfrm>
            <a:off x="312610" y="1996671"/>
            <a:ext cx="9445752" cy="0"/>
          </a:xfrm>
          <a:prstGeom prst="line">
            <a:avLst/>
          </a:prstGeom>
          <a:noFill/>
          <a:ln w="12700">
            <a:solidFill>
              <a:srgbClr val="00FF00"/>
            </a:solidFill>
            <a:round/>
            <a:headEnd/>
            <a:tailEnd/>
          </a:ln>
          <a:effectLst/>
        </p:spPr>
        <p:txBody>
          <a:bodyPr/>
          <a:lstStyle/>
          <a:p>
            <a:endParaRPr lang="en-US"/>
          </a:p>
        </p:txBody>
      </p:sp>
      <p:sp>
        <p:nvSpPr>
          <p:cNvPr id="10" name="Text Placeholder 11">
            <a:extLst>
              <a:ext uri="{FF2B5EF4-FFF2-40B4-BE49-F238E27FC236}">
                <a16:creationId xmlns:a16="http://schemas.microsoft.com/office/drawing/2014/main" id="{9389C976-4C19-46B4-B8BF-5C61855A144E}"/>
              </a:ext>
            </a:extLst>
          </p:cNvPr>
          <p:cNvSpPr>
            <a:spLocks noGrp="1"/>
          </p:cNvSpPr>
          <p:nvPr>
            <p:ph type="body" sz="quarter" idx="13" hasCustomPrompt="1"/>
          </p:nvPr>
        </p:nvSpPr>
        <p:spPr>
          <a:xfrm>
            <a:off x="306389" y="987552"/>
            <a:ext cx="9447212" cy="457200"/>
          </a:xfrm>
          <a:prstGeom prst="rect">
            <a:avLst/>
          </a:prstGeom>
        </p:spPr>
        <p:txBody>
          <a:bodyPr/>
          <a:lstStyle>
            <a:lvl1pPr marL="0" indent="0">
              <a:buNone/>
              <a:defRPr sz="1800" b="1"/>
            </a:lvl1pPr>
          </a:lstStyle>
          <a:p>
            <a:pPr lvl="0"/>
            <a:r>
              <a:rPr lang="en-US" dirty="0"/>
              <a:t>[Insert Insight Here]</a:t>
            </a:r>
          </a:p>
        </p:txBody>
      </p:sp>
    </p:spTree>
    <p:extLst>
      <p:ext uri="{BB962C8B-B14F-4D97-AF65-F5344CB8AC3E}">
        <p14:creationId xmlns:p14="http://schemas.microsoft.com/office/powerpoint/2010/main" val="2573121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sigh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204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50153D9-F9F6-4742-BA12-98868A2A80C7}"/>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0" name="Text Placeholder 11">
            <a:extLst>
              <a:ext uri="{FF2B5EF4-FFF2-40B4-BE49-F238E27FC236}">
                <a16:creationId xmlns:a16="http://schemas.microsoft.com/office/drawing/2014/main" id="{9389C976-4C19-46B4-B8BF-5C61855A144E}"/>
              </a:ext>
            </a:extLst>
          </p:cNvPr>
          <p:cNvSpPr>
            <a:spLocks noGrp="1"/>
          </p:cNvSpPr>
          <p:nvPr>
            <p:ph type="body" sz="quarter" idx="13" hasCustomPrompt="1"/>
          </p:nvPr>
        </p:nvSpPr>
        <p:spPr>
          <a:xfrm>
            <a:off x="306389" y="987552"/>
            <a:ext cx="9447212" cy="457200"/>
          </a:xfrm>
          <a:prstGeom prst="rect">
            <a:avLst/>
          </a:prstGeom>
        </p:spPr>
        <p:txBody>
          <a:bodyPr/>
          <a:lstStyle>
            <a:lvl1pPr marL="0" indent="0">
              <a:buNone/>
              <a:defRPr sz="1800" b="1"/>
            </a:lvl1pPr>
          </a:lstStyle>
          <a:p>
            <a:pPr lvl="0"/>
            <a:r>
              <a:rPr lang="en-US" dirty="0"/>
              <a:t>[Insert Insight Here]</a:t>
            </a:r>
          </a:p>
        </p:txBody>
      </p:sp>
    </p:spTree>
    <p:extLst>
      <p:ext uri="{BB962C8B-B14F-4D97-AF65-F5344CB8AC3E}">
        <p14:creationId xmlns:p14="http://schemas.microsoft.com/office/powerpoint/2010/main" val="1404019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HS 1/2 : RHS 1/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898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5BBF90F0-4833-4D85-B314-3C60BC1FC652}"/>
              </a:ext>
            </a:extLst>
          </p:cNvPr>
          <p:cNvSpPr>
            <a:spLocks noGrp="1"/>
          </p:cNvSpPr>
          <p:nvPr>
            <p:ph type="body" sz="quarter" idx="13" hasCustomPrompt="1"/>
          </p:nvPr>
        </p:nvSpPr>
        <p:spPr>
          <a:xfrm>
            <a:off x="5185695" y="1863688"/>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Right Hand Side Title</a:t>
            </a:r>
          </a:p>
        </p:txBody>
      </p:sp>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06389" y="1863688"/>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Left Hand Side Title</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9" y="2233144"/>
            <a:ext cx="4572000" cy="0"/>
          </a:xfrm>
          <a:prstGeom prst="line">
            <a:avLst/>
          </a:prstGeom>
          <a:noFill/>
          <a:ln w="12700">
            <a:solidFill>
              <a:srgbClr val="00FF00"/>
            </a:solidFill>
            <a:round/>
            <a:headEnd/>
            <a:tailEnd/>
          </a:ln>
          <a:effectLst/>
        </p:spPr>
        <p:txBody>
          <a:bodyPr/>
          <a:lstStyle/>
          <a:p>
            <a:endParaRPr lang="en-US">
              <a:solidFill>
                <a:srgbClr val="0000FF"/>
              </a:solidFill>
            </a:endParaRPr>
          </a:p>
        </p:txBody>
      </p:sp>
      <p:sp>
        <p:nvSpPr>
          <p:cNvPr id="19" name="Line 6">
            <a:extLst>
              <a:ext uri="{FF2B5EF4-FFF2-40B4-BE49-F238E27FC236}">
                <a16:creationId xmlns:a16="http://schemas.microsoft.com/office/drawing/2014/main" id="{171E4A12-8EDC-4AF7-B059-9798A3000232}"/>
              </a:ext>
            </a:extLst>
          </p:cNvPr>
          <p:cNvSpPr>
            <a:spLocks noChangeShapeType="1"/>
          </p:cNvSpPr>
          <p:nvPr userDrawn="1"/>
        </p:nvSpPr>
        <p:spPr bwMode="auto">
          <a:xfrm>
            <a:off x="5185695" y="2233144"/>
            <a:ext cx="4572000" cy="0"/>
          </a:xfrm>
          <a:prstGeom prst="line">
            <a:avLst/>
          </a:prstGeom>
          <a:noFill/>
          <a:ln w="12700">
            <a:solidFill>
              <a:srgbClr val="00FF00"/>
            </a:solidFill>
            <a:round/>
            <a:headEnd/>
            <a:tailEnd/>
          </a:ln>
          <a:effectLst/>
        </p:spPr>
        <p:txBody>
          <a:bodyPr/>
          <a:lstStyle/>
          <a:p>
            <a:endParaRPr lang="en-US" dirty="0">
              <a:solidFill>
                <a:srgbClr val="0000FF"/>
              </a:solidFill>
            </a:endParaRPr>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10483" y="987552"/>
            <a:ext cx="9443117" cy="457200"/>
          </a:xfrm>
          <a:prstGeom prst="rect">
            <a:avLst/>
          </a:prstGeom>
        </p:spPr>
        <p:txBody>
          <a:bodyPr/>
          <a:lstStyle>
            <a:lvl1pPr marL="0" indent="0">
              <a:buNone/>
              <a:defRPr sz="1800" b="1"/>
            </a:lvl1pPr>
          </a:lstStyle>
          <a:p>
            <a:pPr lvl="0"/>
            <a:r>
              <a:rPr lang="en-US" dirty="0"/>
              <a:t>[Insert Insight Here]</a:t>
            </a:r>
          </a:p>
        </p:txBody>
      </p:sp>
    </p:spTree>
    <p:extLst>
      <p:ext uri="{BB962C8B-B14F-4D97-AF65-F5344CB8AC3E}">
        <p14:creationId xmlns:p14="http://schemas.microsoft.com/office/powerpoint/2010/main" val="1958641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b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0474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Text Placeholder 4">
            <a:extLst>
              <a:ext uri="{FF2B5EF4-FFF2-40B4-BE49-F238E27FC236}">
                <a16:creationId xmlns:a16="http://schemas.microsoft.com/office/drawing/2014/main" id="{DBF4409E-CD6F-40B8-B9D4-7C1873035CB3}"/>
              </a:ext>
            </a:extLst>
          </p:cNvPr>
          <p:cNvSpPr>
            <a:spLocks noGrp="1"/>
          </p:cNvSpPr>
          <p:nvPr>
            <p:ph type="body" sz="quarter" idx="17" hasCustomPrompt="1"/>
          </p:nvPr>
        </p:nvSpPr>
        <p:spPr>
          <a:xfrm>
            <a:off x="5181600" y="4295961"/>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Segment 4</a:t>
            </a:r>
          </a:p>
        </p:txBody>
      </p:sp>
      <p:sp>
        <p:nvSpPr>
          <p:cNvPr id="15" name="Text Placeholder 4">
            <a:extLst>
              <a:ext uri="{FF2B5EF4-FFF2-40B4-BE49-F238E27FC236}">
                <a16:creationId xmlns:a16="http://schemas.microsoft.com/office/drawing/2014/main" id="{5AD881AA-469B-407F-9ACB-4F97910B4D66}"/>
              </a:ext>
            </a:extLst>
          </p:cNvPr>
          <p:cNvSpPr>
            <a:spLocks noGrp="1"/>
          </p:cNvSpPr>
          <p:nvPr>
            <p:ph type="body" sz="quarter" idx="16" hasCustomPrompt="1"/>
          </p:nvPr>
        </p:nvSpPr>
        <p:spPr>
          <a:xfrm>
            <a:off x="306389" y="4295961"/>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Segment 3</a:t>
            </a:r>
          </a:p>
        </p:txBody>
      </p:sp>
      <p:sp>
        <p:nvSpPr>
          <p:cNvPr id="20" name="Text Placeholder 4">
            <a:extLst>
              <a:ext uri="{FF2B5EF4-FFF2-40B4-BE49-F238E27FC236}">
                <a16:creationId xmlns:a16="http://schemas.microsoft.com/office/drawing/2014/main" id="{5BBF90F0-4833-4D85-B314-3C60BC1FC652}"/>
              </a:ext>
            </a:extLst>
          </p:cNvPr>
          <p:cNvSpPr>
            <a:spLocks noGrp="1"/>
          </p:cNvSpPr>
          <p:nvPr>
            <p:ph type="body" sz="quarter" idx="13" hasCustomPrompt="1"/>
          </p:nvPr>
        </p:nvSpPr>
        <p:spPr>
          <a:xfrm>
            <a:off x="5181600" y="1863688"/>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Segment 2</a:t>
            </a:r>
          </a:p>
        </p:txBody>
      </p:sp>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06389" y="1863688"/>
            <a:ext cx="457200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Segment 1</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9" y="2233144"/>
            <a:ext cx="4572000" cy="0"/>
          </a:xfrm>
          <a:prstGeom prst="line">
            <a:avLst/>
          </a:prstGeom>
          <a:noFill/>
          <a:ln w="12700">
            <a:gradFill>
              <a:gsLst>
                <a:gs pos="0">
                  <a:srgbClr val="00FF00"/>
                </a:gs>
                <a:gs pos="100000">
                  <a:schemeClr val="accent1">
                    <a:lumMod val="30000"/>
                    <a:lumOff val="70000"/>
                  </a:schemeClr>
                </a:gs>
              </a:gsLst>
              <a:lin ang="5400000" scaled="1"/>
            </a:gradFill>
            <a:round/>
            <a:headEnd/>
            <a:tailEnd/>
          </a:ln>
          <a:effectLst/>
        </p:spPr>
        <p:txBody>
          <a:bodyPr/>
          <a:lstStyle/>
          <a:p>
            <a:endParaRPr lang="en-US"/>
          </a:p>
        </p:txBody>
      </p:sp>
      <p:sp>
        <p:nvSpPr>
          <p:cNvPr id="19" name="Line 6">
            <a:extLst>
              <a:ext uri="{FF2B5EF4-FFF2-40B4-BE49-F238E27FC236}">
                <a16:creationId xmlns:a16="http://schemas.microsoft.com/office/drawing/2014/main" id="{171E4A12-8EDC-4AF7-B059-9798A3000232}"/>
              </a:ext>
            </a:extLst>
          </p:cNvPr>
          <p:cNvSpPr>
            <a:spLocks noChangeShapeType="1"/>
          </p:cNvSpPr>
          <p:nvPr userDrawn="1"/>
        </p:nvSpPr>
        <p:spPr bwMode="auto">
          <a:xfrm>
            <a:off x="5181600" y="2233144"/>
            <a:ext cx="4572000" cy="0"/>
          </a:xfrm>
          <a:prstGeom prst="line">
            <a:avLst/>
          </a:prstGeom>
          <a:noFill/>
          <a:ln w="12700">
            <a:solidFill>
              <a:srgbClr val="00FF00"/>
            </a:solidFill>
            <a:round/>
            <a:headEnd/>
            <a:tailEnd/>
          </a:ln>
          <a:effectLst/>
        </p:spPr>
        <p:txBody>
          <a:bodyPr/>
          <a:lstStyle/>
          <a:p>
            <a:endParaRPr lang="en-US" dirty="0"/>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06389" y="987552"/>
            <a:ext cx="9447211" cy="457200"/>
          </a:xfrm>
          <a:prstGeom prst="rect">
            <a:avLst/>
          </a:prstGeom>
        </p:spPr>
        <p:txBody>
          <a:bodyPr/>
          <a:lstStyle>
            <a:lvl1pPr marL="0" indent="0">
              <a:buNone/>
              <a:defRPr sz="1800" b="1"/>
            </a:lvl1pPr>
          </a:lstStyle>
          <a:p>
            <a:pPr lvl="0"/>
            <a:r>
              <a:rPr lang="en-US" dirty="0"/>
              <a:t>[Insert Insight Here]</a:t>
            </a:r>
          </a:p>
        </p:txBody>
      </p:sp>
      <p:sp>
        <p:nvSpPr>
          <p:cNvPr id="13" name="Line 6">
            <a:extLst>
              <a:ext uri="{FF2B5EF4-FFF2-40B4-BE49-F238E27FC236}">
                <a16:creationId xmlns:a16="http://schemas.microsoft.com/office/drawing/2014/main" id="{D00AA38F-58BA-4A12-8090-A4034EC0F16C}"/>
              </a:ext>
            </a:extLst>
          </p:cNvPr>
          <p:cNvSpPr>
            <a:spLocks noChangeShapeType="1"/>
          </p:cNvSpPr>
          <p:nvPr userDrawn="1"/>
        </p:nvSpPr>
        <p:spPr bwMode="auto">
          <a:xfrm>
            <a:off x="306389" y="4665417"/>
            <a:ext cx="4572000" cy="0"/>
          </a:xfrm>
          <a:prstGeom prst="line">
            <a:avLst/>
          </a:prstGeom>
          <a:noFill/>
          <a:ln w="12700">
            <a:solidFill>
              <a:srgbClr val="00FF00"/>
            </a:solidFill>
            <a:round/>
            <a:headEnd/>
            <a:tailEnd/>
          </a:ln>
          <a:effectLst/>
        </p:spPr>
        <p:txBody>
          <a:bodyPr/>
          <a:lstStyle/>
          <a:p>
            <a:endParaRPr lang="en-US"/>
          </a:p>
        </p:txBody>
      </p:sp>
      <p:sp>
        <p:nvSpPr>
          <p:cNvPr id="14" name="Line 6">
            <a:extLst>
              <a:ext uri="{FF2B5EF4-FFF2-40B4-BE49-F238E27FC236}">
                <a16:creationId xmlns:a16="http://schemas.microsoft.com/office/drawing/2014/main" id="{655752A8-B7AA-4AD6-80B6-DAAF16E95BAB}"/>
              </a:ext>
            </a:extLst>
          </p:cNvPr>
          <p:cNvSpPr>
            <a:spLocks noChangeShapeType="1"/>
          </p:cNvSpPr>
          <p:nvPr userDrawn="1"/>
        </p:nvSpPr>
        <p:spPr bwMode="auto">
          <a:xfrm>
            <a:off x="5181600" y="4665417"/>
            <a:ext cx="4572000" cy="0"/>
          </a:xfrm>
          <a:prstGeom prst="line">
            <a:avLst/>
          </a:prstGeom>
          <a:noFill/>
          <a:ln w="12700">
            <a:solidFill>
              <a:srgbClr val="00FF00"/>
            </a:solidFill>
            <a:round/>
            <a:headEnd/>
            <a:tailEnd/>
          </a:ln>
          <a:effectLst/>
        </p:spPr>
        <p:txBody>
          <a:bodyPr/>
          <a:lstStyle/>
          <a:p>
            <a:endParaRPr lang="en-US" dirty="0"/>
          </a:p>
        </p:txBody>
      </p:sp>
    </p:spTree>
    <p:extLst>
      <p:ext uri="{BB962C8B-B14F-4D97-AF65-F5344CB8AC3E}">
        <p14:creationId xmlns:p14="http://schemas.microsoft.com/office/powerpoint/2010/main" val="1280334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1402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Text Placeholder 4">
            <a:extLst>
              <a:ext uri="{FF2B5EF4-FFF2-40B4-BE49-F238E27FC236}">
                <a16:creationId xmlns:a16="http://schemas.microsoft.com/office/drawing/2014/main" id="{59A5243D-EEFF-4325-8DF0-38868474D4CC}"/>
              </a:ext>
            </a:extLst>
          </p:cNvPr>
          <p:cNvSpPr>
            <a:spLocks noGrp="1"/>
          </p:cNvSpPr>
          <p:nvPr>
            <p:ph type="body" sz="quarter" idx="15" hasCustomPrompt="1"/>
          </p:nvPr>
        </p:nvSpPr>
        <p:spPr>
          <a:xfrm>
            <a:off x="6736080" y="1863688"/>
            <a:ext cx="301752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3 Title</a:t>
            </a:r>
          </a:p>
        </p:txBody>
      </p:sp>
      <p:sp>
        <p:nvSpPr>
          <p:cNvPr id="21" name="Text Placeholder 4">
            <a:extLst>
              <a:ext uri="{FF2B5EF4-FFF2-40B4-BE49-F238E27FC236}">
                <a16:creationId xmlns:a16="http://schemas.microsoft.com/office/drawing/2014/main" id="{A2A73391-6FCE-4919-AFF6-C231AFF7A86B}"/>
              </a:ext>
            </a:extLst>
          </p:cNvPr>
          <p:cNvSpPr>
            <a:spLocks noGrp="1"/>
          </p:cNvSpPr>
          <p:nvPr>
            <p:ph type="body" sz="quarter" idx="16" hasCustomPrompt="1"/>
          </p:nvPr>
        </p:nvSpPr>
        <p:spPr>
          <a:xfrm>
            <a:off x="3521234" y="1863688"/>
            <a:ext cx="301752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2 Title</a:t>
            </a:r>
          </a:p>
        </p:txBody>
      </p:sp>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06389" y="1863688"/>
            <a:ext cx="301752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1 Title</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9" y="2234745"/>
            <a:ext cx="3017520" cy="0"/>
          </a:xfrm>
          <a:prstGeom prst="line">
            <a:avLst/>
          </a:prstGeom>
          <a:noFill/>
          <a:ln w="12700">
            <a:solidFill>
              <a:srgbClr val="00FF00"/>
            </a:solidFill>
            <a:round/>
            <a:headEnd/>
            <a:tailEnd/>
          </a:ln>
          <a:effectLst/>
        </p:spPr>
        <p:txBody>
          <a:bodyPr/>
          <a:lstStyle/>
          <a:p>
            <a:endParaRPr lang="en-US"/>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06389" y="987552"/>
            <a:ext cx="9447211" cy="457200"/>
          </a:xfrm>
          <a:prstGeom prst="rect">
            <a:avLst/>
          </a:prstGeom>
        </p:spPr>
        <p:txBody>
          <a:bodyPr/>
          <a:lstStyle>
            <a:lvl1pPr marL="0" indent="0">
              <a:buNone/>
              <a:defRPr sz="1800" b="1"/>
            </a:lvl1pPr>
          </a:lstStyle>
          <a:p>
            <a:pPr lvl="0"/>
            <a:r>
              <a:rPr lang="en-US" dirty="0"/>
              <a:t>[Insert Insight Here]</a:t>
            </a:r>
          </a:p>
        </p:txBody>
      </p:sp>
      <p:sp>
        <p:nvSpPr>
          <p:cNvPr id="15" name="Line 6">
            <a:extLst>
              <a:ext uri="{FF2B5EF4-FFF2-40B4-BE49-F238E27FC236}">
                <a16:creationId xmlns:a16="http://schemas.microsoft.com/office/drawing/2014/main" id="{87C244B2-2992-4532-AD0F-B51AB490477B}"/>
              </a:ext>
            </a:extLst>
          </p:cNvPr>
          <p:cNvSpPr>
            <a:spLocks noChangeShapeType="1"/>
          </p:cNvSpPr>
          <p:nvPr userDrawn="1"/>
        </p:nvSpPr>
        <p:spPr bwMode="auto">
          <a:xfrm>
            <a:off x="6736080" y="2234745"/>
            <a:ext cx="3017520" cy="0"/>
          </a:xfrm>
          <a:prstGeom prst="line">
            <a:avLst/>
          </a:prstGeom>
          <a:noFill/>
          <a:ln w="12700">
            <a:solidFill>
              <a:srgbClr val="00FF00"/>
            </a:solidFill>
            <a:round/>
            <a:headEnd/>
            <a:tailEnd/>
          </a:ln>
          <a:effectLst/>
        </p:spPr>
        <p:txBody>
          <a:bodyPr/>
          <a:lstStyle/>
          <a:p>
            <a:endParaRPr lang="en-US"/>
          </a:p>
        </p:txBody>
      </p:sp>
      <p:sp>
        <p:nvSpPr>
          <p:cNvPr id="17" name="Line 6">
            <a:extLst>
              <a:ext uri="{FF2B5EF4-FFF2-40B4-BE49-F238E27FC236}">
                <a16:creationId xmlns:a16="http://schemas.microsoft.com/office/drawing/2014/main" id="{F7E16334-191F-4FD9-8F99-BB85BE2C1523}"/>
              </a:ext>
            </a:extLst>
          </p:cNvPr>
          <p:cNvSpPr>
            <a:spLocks noChangeShapeType="1"/>
          </p:cNvSpPr>
          <p:nvPr userDrawn="1"/>
        </p:nvSpPr>
        <p:spPr bwMode="auto">
          <a:xfrm>
            <a:off x="3520441" y="2234745"/>
            <a:ext cx="3017520" cy="0"/>
          </a:xfrm>
          <a:prstGeom prst="line">
            <a:avLst/>
          </a:prstGeom>
          <a:noFill/>
          <a:ln w="12700">
            <a:solidFill>
              <a:srgbClr val="00FF00"/>
            </a:solidFill>
            <a:round/>
            <a:headEnd/>
            <a:tailEnd/>
          </a:ln>
          <a:effectLst/>
        </p:spPr>
        <p:txBody>
          <a:bodyPr/>
          <a:lstStyle/>
          <a:p>
            <a:endParaRPr lang="en-US"/>
          </a:p>
        </p:txBody>
      </p:sp>
    </p:spTree>
    <p:extLst>
      <p:ext uri="{BB962C8B-B14F-4D97-AF65-F5344CB8AC3E}">
        <p14:creationId xmlns:p14="http://schemas.microsoft.com/office/powerpoint/2010/main" val="1468098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1212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06389" y="1863688"/>
            <a:ext cx="21945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1 Title</a:t>
            </a:r>
          </a:p>
        </p:txBody>
      </p:sp>
      <p:sp>
        <p:nvSpPr>
          <p:cNvPr id="14" name="Text Placeholder 4">
            <a:extLst>
              <a:ext uri="{FF2B5EF4-FFF2-40B4-BE49-F238E27FC236}">
                <a16:creationId xmlns:a16="http://schemas.microsoft.com/office/drawing/2014/main" id="{30D3E4BC-F1C7-48A0-BA35-A699BBF977AA}"/>
              </a:ext>
            </a:extLst>
          </p:cNvPr>
          <p:cNvSpPr>
            <a:spLocks noGrp="1"/>
          </p:cNvSpPr>
          <p:nvPr>
            <p:ph type="body" sz="quarter" idx="15" hasCustomPrompt="1"/>
          </p:nvPr>
        </p:nvSpPr>
        <p:spPr>
          <a:xfrm>
            <a:off x="7559040" y="1863688"/>
            <a:ext cx="21945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4 Title</a:t>
            </a:r>
          </a:p>
        </p:txBody>
      </p:sp>
      <p:sp>
        <p:nvSpPr>
          <p:cNvPr id="22" name="Text Placeholder 4">
            <a:extLst>
              <a:ext uri="{FF2B5EF4-FFF2-40B4-BE49-F238E27FC236}">
                <a16:creationId xmlns:a16="http://schemas.microsoft.com/office/drawing/2014/main" id="{015DBE3C-3411-4F91-9AE2-D09196811F4D}"/>
              </a:ext>
            </a:extLst>
          </p:cNvPr>
          <p:cNvSpPr>
            <a:spLocks noGrp="1"/>
          </p:cNvSpPr>
          <p:nvPr>
            <p:ph type="body" sz="quarter" idx="16" hasCustomPrompt="1"/>
          </p:nvPr>
        </p:nvSpPr>
        <p:spPr>
          <a:xfrm>
            <a:off x="2723939" y="1863688"/>
            <a:ext cx="21945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2 Title</a:t>
            </a:r>
          </a:p>
        </p:txBody>
      </p:sp>
      <p:sp>
        <p:nvSpPr>
          <p:cNvPr id="23" name="Text Placeholder 4">
            <a:extLst>
              <a:ext uri="{FF2B5EF4-FFF2-40B4-BE49-F238E27FC236}">
                <a16:creationId xmlns:a16="http://schemas.microsoft.com/office/drawing/2014/main" id="{9E362FC5-A49B-4A1B-A9F3-C75F13C7C46B}"/>
              </a:ext>
            </a:extLst>
          </p:cNvPr>
          <p:cNvSpPr>
            <a:spLocks noGrp="1"/>
          </p:cNvSpPr>
          <p:nvPr>
            <p:ph type="body" sz="quarter" idx="17" hasCustomPrompt="1"/>
          </p:nvPr>
        </p:nvSpPr>
        <p:spPr>
          <a:xfrm>
            <a:off x="5141489" y="1863688"/>
            <a:ext cx="21945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3 Title</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9" y="2235252"/>
            <a:ext cx="2194560" cy="0"/>
          </a:xfrm>
          <a:prstGeom prst="line">
            <a:avLst/>
          </a:prstGeom>
          <a:noFill/>
          <a:ln w="12700">
            <a:solidFill>
              <a:srgbClr val="00FF00"/>
            </a:solidFill>
            <a:round/>
            <a:headEnd/>
            <a:tailEnd/>
          </a:ln>
          <a:effectLst/>
        </p:spPr>
        <p:txBody>
          <a:bodyPr/>
          <a:lstStyle/>
          <a:p>
            <a:endParaRPr lang="en-US"/>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06389" y="987552"/>
            <a:ext cx="9447211" cy="457200"/>
          </a:xfrm>
          <a:prstGeom prst="rect">
            <a:avLst/>
          </a:prstGeom>
        </p:spPr>
        <p:txBody>
          <a:bodyPr/>
          <a:lstStyle>
            <a:lvl1pPr marL="0" indent="0">
              <a:buNone/>
              <a:defRPr sz="1800" b="1"/>
            </a:lvl1pPr>
          </a:lstStyle>
          <a:p>
            <a:pPr lvl="0"/>
            <a:r>
              <a:rPr lang="en-US" dirty="0"/>
              <a:t>[Insert Insight Here]</a:t>
            </a:r>
          </a:p>
        </p:txBody>
      </p:sp>
      <p:sp>
        <p:nvSpPr>
          <p:cNvPr id="13" name="Line 6">
            <a:extLst>
              <a:ext uri="{FF2B5EF4-FFF2-40B4-BE49-F238E27FC236}">
                <a16:creationId xmlns:a16="http://schemas.microsoft.com/office/drawing/2014/main" id="{17A50F94-00F9-4E9A-860E-26E5B45D513A}"/>
              </a:ext>
            </a:extLst>
          </p:cNvPr>
          <p:cNvSpPr>
            <a:spLocks noChangeShapeType="1"/>
          </p:cNvSpPr>
          <p:nvPr userDrawn="1"/>
        </p:nvSpPr>
        <p:spPr bwMode="auto">
          <a:xfrm>
            <a:off x="7559040" y="2235252"/>
            <a:ext cx="2194560" cy="0"/>
          </a:xfrm>
          <a:prstGeom prst="line">
            <a:avLst/>
          </a:prstGeom>
          <a:noFill/>
          <a:ln w="12700">
            <a:solidFill>
              <a:srgbClr val="00FF00"/>
            </a:solidFill>
            <a:round/>
            <a:headEnd/>
            <a:tailEnd/>
          </a:ln>
          <a:effectLst/>
        </p:spPr>
        <p:txBody>
          <a:bodyPr/>
          <a:lstStyle/>
          <a:p>
            <a:endParaRPr lang="en-US"/>
          </a:p>
        </p:txBody>
      </p:sp>
      <p:sp>
        <p:nvSpPr>
          <p:cNvPr id="26" name="Line 6">
            <a:extLst>
              <a:ext uri="{FF2B5EF4-FFF2-40B4-BE49-F238E27FC236}">
                <a16:creationId xmlns:a16="http://schemas.microsoft.com/office/drawing/2014/main" id="{962DDC9D-D67F-48EC-88E4-98CCCCA8B5EB}"/>
              </a:ext>
            </a:extLst>
          </p:cNvPr>
          <p:cNvSpPr>
            <a:spLocks noChangeShapeType="1"/>
          </p:cNvSpPr>
          <p:nvPr userDrawn="1"/>
        </p:nvSpPr>
        <p:spPr bwMode="auto">
          <a:xfrm>
            <a:off x="2723940" y="2235252"/>
            <a:ext cx="2194560" cy="0"/>
          </a:xfrm>
          <a:prstGeom prst="line">
            <a:avLst/>
          </a:prstGeom>
          <a:noFill/>
          <a:ln w="12700">
            <a:solidFill>
              <a:srgbClr val="00FF00"/>
            </a:solidFill>
            <a:round/>
            <a:headEnd/>
            <a:tailEnd/>
          </a:ln>
          <a:effectLst/>
        </p:spPr>
        <p:txBody>
          <a:bodyPr/>
          <a:lstStyle/>
          <a:p>
            <a:endParaRPr lang="en-US"/>
          </a:p>
        </p:txBody>
      </p:sp>
      <p:sp>
        <p:nvSpPr>
          <p:cNvPr id="27" name="Line 6">
            <a:extLst>
              <a:ext uri="{FF2B5EF4-FFF2-40B4-BE49-F238E27FC236}">
                <a16:creationId xmlns:a16="http://schemas.microsoft.com/office/drawing/2014/main" id="{7CBA5223-AD0D-44B6-8A76-05709B85225D}"/>
              </a:ext>
            </a:extLst>
          </p:cNvPr>
          <p:cNvSpPr>
            <a:spLocks noChangeShapeType="1"/>
          </p:cNvSpPr>
          <p:nvPr userDrawn="1"/>
        </p:nvSpPr>
        <p:spPr bwMode="auto">
          <a:xfrm>
            <a:off x="5141491" y="2235252"/>
            <a:ext cx="2194560" cy="0"/>
          </a:xfrm>
          <a:prstGeom prst="line">
            <a:avLst/>
          </a:prstGeom>
          <a:noFill/>
          <a:ln w="12700">
            <a:solidFill>
              <a:srgbClr val="00FF00"/>
            </a:solidFill>
            <a:round/>
            <a:headEnd/>
            <a:tailEnd/>
          </a:ln>
          <a:effectLst/>
        </p:spPr>
        <p:txBody>
          <a:bodyPr/>
          <a:lstStyle/>
          <a:p>
            <a:endParaRPr lang="en-US"/>
          </a:p>
        </p:txBody>
      </p:sp>
    </p:spTree>
    <p:extLst>
      <p:ext uri="{BB962C8B-B14F-4D97-AF65-F5344CB8AC3E}">
        <p14:creationId xmlns:p14="http://schemas.microsoft.com/office/powerpoint/2010/main" val="3717986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2/3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04983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5" imgW="393" imgH="394" progId="TCLayout.ActiveDocument.1">
                  <p:embed/>
                </p:oleObj>
              </mc:Choice>
              <mc:Fallback>
                <p:oleObj name="think-cell Slide" r:id="rId5" imgW="393" imgH="39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6BBA73FF-257A-4967-B6F5-B42DFB765DC6}"/>
              </a:ext>
            </a:extLst>
          </p:cNvPr>
          <p:cNvSpPr>
            <a:spLocks noGrp="1"/>
          </p:cNvSpPr>
          <p:nvPr>
            <p:ph type="body" sz="quarter" idx="12" hasCustomPrompt="1"/>
          </p:nvPr>
        </p:nvSpPr>
        <p:spPr>
          <a:xfrm>
            <a:off x="3521235" y="1863688"/>
            <a:ext cx="6232365"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2 Title</a:t>
            </a:r>
          </a:p>
        </p:txBody>
      </p:sp>
      <p:sp>
        <p:nvSpPr>
          <p:cNvPr id="16" name="Text Placeholder 4">
            <a:extLst>
              <a:ext uri="{FF2B5EF4-FFF2-40B4-BE49-F238E27FC236}">
                <a16:creationId xmlns:a16="http://schemas.microsoft.com/office/drawing/2014/main" id="{59A5243D-EEFF-4325-8DF0-38868474D4CC}"/>
              </a:ext>
            </a:extLst>
          </p:cNvPr>
          <p:cNvSpPr>
            <a:spLocks noGrp="1"/>
          </p:cNvSpPr>
          <p:nvPr>
            <p:ph type="body" sz="quarter" idx="15" hasCustomPrompt="1"/>
          </p:nvPr>
        </p:nvSpPr>
        <p:spPr>
          <a:xfrm>
            <a:off x="329184" y="1863688"/>
            <a:ext cx="301752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9537" tIns="48895" rIns="99537" bIns="48895" anchor="b"/>
          <a:lstStyle>
            <a:lvl1pPr marL="0" indent="0" algn="ctr">
              <a:buFont typeface="Arial" panose="020B0604020202020204" pitchFamily="34" charset="0"/>
              <a:buNone/>
              <a:defRPr lang="en-US" sz="1800" b="1" i="1" kern="1200" dirty="0" smtClean="0">
                <a:solidFill>
                  <a:srgbClr val="0000FF"/>
                </a:solidFill>
                <a:latin typeface="Arial" charset="0"/>
                <a:cs typeface="Arial" charset="0"/>
              </a:defRPr>
            </a:lvl1pPr>
          </a:lstStyle>
          <a:p>
            <a:pPr marL="195580" lvl="0" indent="-195580" algn="ctr" eaLnBrk="0" hangingPunct="0">
              <a:lnSpc>
                <a:spcPts val="1650"/>
              </a:lnSpc>
              <a:spcBef>
                <a:spcPts val="330"/>
              </a:spcBef>
              <a:tabLst>
                <a:tab pos="1131570" algn="l"/>
              </a:tabLst>
            </a:pPr>
            <a:r>
              <a:rPr lang="en-US" b="1" i="1" dirty="0">
                <a:solidFill>
                  <a:srgbClr val="003399"/>
                </a:solidFill>
              </a:rPr>
              <a:t>Column 1 Title</a:t>
            </a:r>
          </a:p>
        </p:txBody>
      </p:sp>
      <p:sp>
        <p:nvSpPr>
          <p:cNvPr id="3" name="Rectangle 2" hidden="1">
            <a:extLst>
              <a:ext uri="{FF2B5EF4-FFF2-40B4-BE49-F238E27FC236}">
                <a16:creationId xmlns:a16="http://schemas.microsoft.com/office/drawing/2014/main" id="{897D7D4E-5ABB-4DD2-8DA8-3299ABCF1B1B}"/>
              </a:ext>
            </a:extLst>
          </p:cNvPr>
          <p:cNvSpPr/>
          <p:nvPr userDrawn="1">
            <p:custDataLst>
              <p:tags r:id="rId3"/>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 name="Rectangle 4">
            <a:extLst>
              <a:ext uri="{FF2B5EF4-FFF2-40B4-BE49-F238E27FC236}">
                <a16:creationId xmlns:a16="http://schemas.microsoft.com/office/drawing/2014/main" id="{99088B64-C121-43AF-8862-B300DC29F848}"/>
              </a:ext>
            </a:extLst>
          </p:cNvPr>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lvl1pPr>
              <a:defRPr sz="2400"/>
            </a:lvl1pPr>
          </a:lstStyle>
          <a:p>
            <a:pPr lvl="0"/>
            <a:r>
              <a:rPr lang="en-US" altLang="en-US"/>
              <a:t>Click to edit Master title style</a:t>
            </a:r>
            <a:endParaRPr lang="en-US" altLang="en-US" dirty="0"/>
          </a:p>
        </p:txBody>
      </p:sp>
      <p:sp>
        <p:nvSpPr>
          <p:cNvPr id="9" name="Text Placeholder 8">
            <a:extLst>
              <a:ext uri="{FF2B5EF4-FFF2-40B4-BE49-F238E27FC236}">
                <a16:creationId xmlns:a16="http://schemas.microsoft.com/office/drawing/2014/main" id="{DC261FB6-F0BB-4256-BE68-AB590DA4717C}"/>
              </a:ext>
            </a:extLst>
          </p:cNvPr>
          <p:cNvSpPr>
            <a:spLocks noGrp="1"/>
          </p:cNvSpPr>
          <p:nvPr>
            <p:ph type="body" sz="quarter" idx="11" hasCustomPrompt="1"/>
          </p:nvPr>
        </p:nvSpPr>
        <p:spPr>
          <a:xfrm>
            <a:off x="329184" y="7086600"/>
            <a:ext cx="8229600" cy="393192"/>
          </a:xfrm>
          <a:prstGeom prst="rect">
            <a:avLst/>
          </a:prstGeom>
        </p:spPr>
        <p:txBody>
          <a:bodyPr lIns="0" tIns="0" rIns="0" bIns="0" anchor="b"/>
          <a:lstStyle>
            <a:lvl1pPr marL="0" indent="0">
              <a:buNone/>
              <a:defRPr sz="900"/>
            </a:lvl1pPr>
            <a:lvl2pPr>
              <a:defRPr sz="880"/>
            </a:lvl2pPr>
            <a:lvl3pPr>
              <a:defRPr sz="880"/>
            </a:lvl3pPr>
            <a:lvl4pPr>
              <a:defRPr sz="880"/>
            </a:lvl4pPr>
            <a:lvl5pPr>
              <a:defRPr sz="880"/>
            </a:lvl5pPr>
          </a:lstStyle>
          <a:p>
            <a:r>
              <a:rPr lang="en-US" dirty="0">
                <a:solidFill>
                  <a:srgbClr val="000000"/>
                </a:solidFill>
                <a:cs typeface="Arial" pitchFamily="34" charset="0"/>
              </a:rPr>
              <a:t>Insert Source Here</a:t>
            </a:r>
          </a:p>
        </p:txBody>
      </p:sp>
      <p:sp>
        <p:nvSpPr>
          <p:cNvPr id="18" name="Line 6">
            <a:extLst>
              <a:ext uri="{FF2B5EF4-FFF2-40B4-BE49-F238E27FC236}">
                <a16:creationId xmlns:a16="http://schemas.microsoft.com/office/drawing/2014/main" id="{99D3EF72-1DAF-4712-837B-68EA0BDED0A5}"/>
              </a:ext>
            </a:extLst>
          </p:cNvPr>
          <p:cNvSpPr>
            <a:spLocks noChangeShapeType="1"/>
          </p:cNvSpPr>
          <p:nvPr userDrawn="1"/>
        </p:nvSpPr>
        <p:spPr bwMode="auto">
          <a:xfrm>
            <a:off x="306389" y="2234745"/>
            <a:ext cx="3040316" cy="0"/>
          </a:xfrm>
          <a:prstGeom prst="line">
            <a:avLst/>
          </a:prstGeom>
          <a:noFill/>
          <a:ln w="12700">
            <a:solidFill>
              <a:srgbClr val="00FF00"/>
            </a:solidFill>
            <a:round/>
            <a:headEnd/>
            <a:tailEnd/>
          </a:ln>
          <a:effectLst/>
        </p:spPr>
        <p:txBody>
          <a:bodyPr/>
          <a:lstStyle/>
          <a:p>
            <a:endParaRPr lang="en-US" dirty="0"/>
          </a:p>
        </p:txBody>
      </p:sp>
      <p:sp>
        <p:nvSpPr>
          <p:cNvPr id="11" name="Text Placeholder 11">
            <a:extLst>
              <a:ext uri="{FF2B5EF4-FFF2-40B4-BE49-F238E27FC236}">
                <a16:creationId xmlns:a16="http://schemas.microsoft.com/office/drawing/2014/main" id="{D5540BE0-2A4B-436B-A030-5FDD9BCF6509}"/>
              </a:ext>
            </a:extLst>
          </p:cNvPr>
          <p:cNvSpPr>
            <a:spLocks noGrp="1"/>
          </p:cNvSpPr>
          <p:nvPr>
            <p:ph type="body" sz="quarter" idx="14" hasCustomPrompt="1"/>
          </p:nvPr>
        </p:nvSpPr>
        <p:spPr>
          <a:xfrm>
            <a:off x="306389" y="987552"/>
            <a:ext cx="9447211" cy="457200"/>
          </a:xfrm>
          <a:prstGeom prst="rect">
            <a:avLst/>
          </a:prstGeom>
        </p:spPr>
        <p:txBody>
          <a:bodyPr/>
          <a:lstStyle>
            <a:lvl1pPr marL="0" indent="0">
              <a:buNone/>
              <a:defRPr sz="1800" b="1"/>
            </a:lvl1pPr>
          </a:lstStyle>
          <a:p>
            <a:pPr lvl="0"/>
            <a:r>
              <a:rPr lang="en-US" dirty="0"/>
              <a:t>[Insert Insight Here]</a:t>
            </a:r>
          </a:p>
        </p:txBody>
      </p:sp>
      <p:sp>
        <p:nvSpPr>
          <p:cNvPr id="15" name="Line 6">
            <a:extLst>
              <a:ext uri="{FF2B5EF4-FFF2-40B4-BE49-F238E27FC236}">
                <a16:creationId xmlns:a16="http://schemas.microsoft.com/office/drawing/2014/main" id="{87C244B2-2992-4532-AD0F-B51AB490477B}"/>
              </a:ext>
            </a:extLst>
          </p:cNvPr>
          <p:cNvSpPr>
            <a:spLocks noChangeShapeType="1"/>
          </p:cNvSpPr>
          <p:nvPr userDrawn="1"/>
        </p:nvSpPr>
        <p:spPr bwMode="auto">
          <a:xfrm>
            <a:off x="3521235" y="2234745"/>
            <a:ext cx="6232365" cy="0"/>
          </a:xfrm>
          <a:prstGeom prst="line">
            <a:avLst/>
          </a:prstGeom>
          <a:noFill/>
          <a:ln w="12700">
            <a:solidFill>
              <a:srgbClr val="00FF00"/>
            </a:solidFill>
            <a:round/>
            <a:headEnd/>
            <a:tailEnd/>
          </a:ln>
          <a:effectLst/>
        </p:spPr>
        <p:txBody>
          <a:bodyPr/>
          <a:lstStyle/>
          <a:p>
            <a:endParaRPr lang="en-US" dirty="0"/>
          </a:p>
        </p:txBody>
      </p:sp>
    </p:spTree>
    <p:extLst>
      <p:ext uri="{BB962C8B-B14F-4D97-AF65-F5344CB8AC3E}">
        <p14:creationId xmlns:p14="http://schemas.microsoft.com/office/powerpoint/2010/main" val="14190355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ext uri="{D42A27DB-BD31-4B8C-83A1-F6EECF244321}">
                <p14:modId xmlns:p14="http://schemas.microsoft.com/office/powerpoint/2010/main" val="3557086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7" imgW="524" imgH="526" progId="TCLayout.ActiveDocument.1">
                  <p:embed/>
                </p:oleObj>
              </mc:Choice>
              <mc:Fallback>
                <p:oleObj name="think-cell Slide" r:id="rId17" imgW="524" imgH="526"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8436" name="Rectangle 4"/>
          <p:cNvSpPr>
            <a:spLocks noGrp="1" noChangeArrowheads="1"/>
          </p:cNvSpPr>
          <p:nvPr>
            <p:ph type="title"/>
          </p:nvPr>
        </p:nvSpPr>
        <p:spPr bwMode="gray">
          <a:xfrm>
            <a:off x="306388" y="457200"/>
            <a:ext cx="9447212" cy="442913"/>
          </a:xfrm>
          <a:prstGeom prst="rect">
            <a:avLst/>
          </a:prstGeom>
          <a:noFill/>
          <a:ln w="12700">
            <a:noFill/>
            <a:miter lim="800000"/>
            <a:headEnd/>
            <a:tailEnd/>
          </a:ln>
        </p:spPr>
        <p:txBody>
          <a:bodyPr vert="horz" wrap="square" lIns="0" tIns="0" rIns="0" bIns="18241" numCol="1" anchor="b" anchorCtr="0" compatLnSpc="1">
            <a:prstTxWarp prst="textNoShape">
              <a:avLst/>
            </a:prstTxWarp>
          </a:bodyPr>
          <a:lstStyle/>
          <a:p>
            <a:pPr lvl="0"/>
            <a:r>
              <a:rPr lang="en-US" altLang="en-US" dirty="0"/>
              <a:t>Click to edit Master title style</a:t>
            </a:r>
          </a:p>
        </p:txBody>
      </p:sp>
      <p:pic>
        <p:nvPicPr>
          <p:cNvPr id="11" name="Picture 2">
            <a:extLst>
              <a:ext uri="{FF2B5EF4-FFF2-40B4-BE49-F238E27FC236}">
                <a16:creationId xmlns:a16="http://schemas.microsoft.com/office/drawing/2014/main" id="{3AA478EA-AA39-4DF9-81FA-75FE472A4D39}"/>
              </a:ext>
            </a:extLst>
          </p:cNvPr>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p:blipFill>
        <p:spPr bwMode="auto">
          <a:xfrm>
            <a:off x="8383122" y="7048500"/>
            <a:ext cx="1239846" cy="4572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A07C616-B1F4-4BF4-B387-EB3D99E64199}"/>
              </a:ext>
            </a:extLst>
          </p:cNvPr>
          <p:cNvSpPr/>
          <p:nvPr userDrawn="1">
            <p:custDataLst>
              <p:tags r:id="rId16"/>
            </p:custDataLst>
          </p:nvPr>
        </p:nvSpPr>
        <p:spPr bwMode="auto">
          <a:xfrm>
            <a:off x="0" y="0"/>
            <a:ext cx="158750" cy="158750"/>
          </a:xfrm>
          <a:prstGeom prst="rect">
            <a:avLst/>
          </a:prstGeom>
          <a:solidFill>
            <a:schemeClr val="accent3"/>
          </a:solidFill>
          <a:ln w="9525"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86995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4079618" name="Line 2"/>
          <p:cNvSpPr>
            <a:spLocks noChangeShapeType="1"/>
          </p:cNvSpPr>
          <p:nvPr userDrawn="1"/>
        </p:nvSpPr>
        <p:spPr bwMode="black">
          <a:xfrm>
            <a:off x="306388" y="914400"/>
            <a:ext cx="9447212" cy="0"/>
          </a:xfrm>
          <a:prstGeom prst="line">
            <a:avLst/>
          </a:prstGeom>
          <a:noFill/>
          <a:ln w="28575">
            <a:solidFill>
              <a:srgbClr val="00FF00"/>
            </a:solidFill>
            <a:round/>
            <a:headEnd/>
            <a:tailEnd/>
          </a:ln>
          <a:effectLst/>
        </p:spPr>
        <p:txBody>
          <a:bodyPr wrap="none" anchor="ctr"/>
          <a:lstStyle/>
          <a:p>
            <a:pPr>
              <a:defRPr/>
            </a:pPr>
            <a:endParaRPr lang="en-US" sz="1400" b="1">
              <a:cs typeface="+mn-cs"/>
            </a:endParaRPr>
          </a:p>
        </p:txBody>
      </p:sp>
      <p:sp>
        <p:nvSpPr>
          <p:cNvPr id="4079623" name="Line 7"/>
          <p:cNvSpPr>
            <a:spLocks noChangeShapeType="1"/>
          </p:cNvSpPr>
          <p:nvPr/>
        </p:nvSpPr>
        <p:spPr bwMode="black">
          <a:xfrm>
            <a:off x="306388" y="7011988"/>
            <a:ext cx="9447212" cy="0"/>
          </a:xfrm>
          <a:prstGeom prst="line">
            <a:avLst/>
          </a:prstGeom>
          <a:noFill/>
          <a:ln w="6350">
            <a:solidFill>
              <a:srgbClr val="00FF00"/>
            </a:solidFill>
            <a:round/>
            <a:headEnd/>
            <a:tailEnd/>
          </a:ln>
          <a:effectLst/>
        </p:spPr>
        <p:txBody>
          <a:bodyPr wrap="none" anchor="ctr"/>
          <a:lstStyle/>
          <a:p>
            <a:pPr>
              <a:defRPr/>
            </a:pPr>
            <a:endParaRPr lang="en-US" sz="1400" b="1">
              <a:cs typeface="+mn-cs"/>
            </a:endParaRPr>
          </a:p>
        </p:txBody>
      </p:sp>
      <p:sp>
        <p:nvSpPr>
          <p:cNvPr id="4079621" name="Rectangle 5"/>
          <p:cNvSpPr>
            <a:spLocks noChangeArrowheads="1"/>
          </p:cNvSpPr>
          <p:nvPr/>
        </p:nvSpPr>
        <p:spPr bwMode="gray">
          <a:xfrm>
            <a:off x="9544050" y="7011988"/>
            <a:ext cx="225425" cy="220662"/>
          </a:xfrm>
          <a:prstGeom prst="rect">
            <a:avLst/>
          </a:prstGeom>
          <a:noFill/>
          <a:ln w="12700">
            <a:noFill/>
            <a:miter lim="800000"/>
            <a:headEnd/>
            <a:tailEnd/>
          </a:ln>
        </p:spPr>
        <p:txBody>
          <a:bodyPr lIns="0" tIns="36468" rIns="0" bIns="0"/>
          <a:lstStyle/>
          <a:p>
            <a:pPr algn="r">
              <a:defRPr/>
            </a:pPr>
            <a:fld id="{11513FB7-4599-436D-BA7E-D1A8C0D81F0A}" type="slidenum">
              <a:rPr lang="en-US" altLang="en-US" sz="900">
                <a:solidFill>
                  <a:srgbClr val="003399"/>
                </a:solidFill>
              </a:rPr>
              <a:pPr algn="r">
                <a:defRPr/>
              </a:pPr>
              <a:t>‹#›</a:t>
            </a:fld>
            <a:endParaRPr lang="en-US" altLang="en-US" sz="900">
              <a:solidFill>
                <a:srgbClr val="003399"/>
              </a:solidFill>
            </a:endParaRPr>
          </a:p>
        </p:txBody>
      </p:sp>
      <p:sp>
        <p:nvSpPr>
          <p:cNvPr id="24" name="TextBox 23">
            <a:extLst>
              <a:ext uri="{FF2B5EF4-FFF2-40B4-BE49-F238E27FC236}">
                <a16:creationId xmlns:a16="http://schemas.microsoft.com/office/drawing/2014/main" id="{142262FF-0035-495E-AB3E-251ED4E3AE41}"/>
              </a:ext>
            </a:extLst>
          </p:cNvPr>
          <p:cNvSpPr txBox="1"/>
          <p:nvPr userDrawn="1"/>
        </p:nvSpPr>
        <p:spPr>
          <a:xfrm>
            <a:off x="2935917" y="7123212"/>
            <a:ext cx="4186566"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James Emmett and Co. 2021</a:t>
            </a:r>
          </a:p>
        </p:txBody>
      </p:sp>
    </p:spTree>
  </p:cSld>
  <p:clrMap bg1="lt1" tx1="dk1" bg2="lt2" tx2="dk2" accent1="accent1" accent2="accent2" accent3="accent3" accent4="accent4" accent5="accent5" accent6="accent6" hlink="hlink" folHlink="folHlink"/>
  <p:sldLayoutIdLst>
    <p:sldLayoutId id="2147483718" r:id="rId1"/>
    <p:sldLayoutId id="2147483711" r:id="rId2"/>
    <p:sldLayoutId id="2147483714" r:id="rId3"/>
    <p:sldLayoutId id="2147483742" r:id="rId4"/>
    <p:sldLayoutId id="2147483713" r:id="rId5"/>
    <p:sldLayoutId id="2147483717" r:id="rId6"/>
    <p:sldLayoutId id="2147483715" r:id="rId7"/>
    <p:sldLayoutId id="2147483716" r:id="rId8"/>
    <p:sldLayoutId id="2147483739" r:id="rId9"/>
    <p:sldLayoutId id="2147483740" r:id="rId10"/>
    <p:sldLayoutId id="2147483741" r:id="rId11"/>
    <p:sldLayoutId id="2147483743" r:id="rId12"/>
  </p:sldLayoutIdLst>
  <p:hf sldNum="0" hdr="0" ftr="0" dt="0"/>
  <p:txStyles>
    <p:titleStyle>
      <a:lvl1pPr algn="ctr" defTabSz="887413" rtl="0" eaLnBrk="1" fontAlgn="base" hangingPunct="1">
        <a:spcBef>
          <a:spcPct val="0"/>
        </a:spcBef>
        <a:spcAft>
          <a:spcPct val="0"/>
        </a:spcAft>
        <a:defRPr sz="2400" b="1">
          <a:solidFill>
            <a:srgbClr val="0000FF"/>
          </a:solidFill>
          <a:latin typeface="+mj-lt"/>
          <a:ea typeface="+mj-ea"/>
          <a:cs typeface="+mj-cs"/>
        </a:defRPr>
      </a:lvl1pPr>
      <a:lvl2pPr algn="ctr" defTabSz="887413" rtl="0" eaLnBrk="1" fontAlgn="base" hangingPunct="1">
        <a:spcBef>
          <a:spcPct val="0"/>
        </a:spcBef>
        <a:spcAft>
          <a:spcPct val="0"/>
        </a:spcAft>
        <a:defRPr sz="2400" b="1">
          <a:solidFill>
            <a:srgbClr val="003399"/>
          </a:solidFill>
          <a:latin typeface="Arial" charset="0"/>
          <a:cs typeface="Arial" charset="0"/>
        </a:defRPr>
      </a:lvl2pPr>
      <a:lvl3pPr algn="ctr" defTabSz="887413" rtl="0" eaLnBrk="1" fontAlgn="base" hangingPunct="1">
        <a:spcBef>
          <a:spcPct val="0"/>
        </a:spcBef>
        <a:spcAft>
          <a:spcPct val="0"/>
        </a:spcAft>
        <a:defRPr sz="2400" b="1">
          <a:solidFill>
            <a:srgbClr val="003399"/>
          </a:solidFill>
          <a:latin typeface="Arial" charset="0"/>
          <a:cs typeface="Arial" charset="0"/>
        </a:defRPr>
      </a:lvl3pPr>
      <a:lvl4pPr algn="ctr" defTabSz="887413" rtl="0" eaLnBrk="1" fontAlgn="base" hangingPunct="1">
        <a:spcBef>
          <a:spcPct val="0"/>
        </a:spcBef>
        <a:spcAft>
          <a:spcPct val="0"/>
        </a:spcAft>
        <a:defRPr sz="2400" b="1">
          <a:solidFill>
            <a:srgbClr val="003399"/>
          </a:solidFill>
          <a:latin typeface="Arial" charset="0"/>
          <a:cs typeface="Arial" charset="0"/>
        </a:defRPr>
      </a:lvl4pPr>
      <a:lvl5pPr algn="ctr" defTabSz="887413" rtl="0" eaLnBrk="1" fontAlgn="base" hangingPunct="1">
        <a:spcBef>
          <a:spcPct val="0"/>
        </a:spcBef>
        <a:spcAft>
          <a:spcPct val="0"/>
        </a:spcAft>
        <a:defRPr sz="2400" b="1">
          <a:solidFill>
            <a:srgbClr val="003399"/>
          </a:solidFill>
          <a:latin typeface="Arial" charset="0"/>
          <a:cs typeface="Arial" charset="0"/>
        </a:defRPr>
      </a:lvl5pPr>
      <a:lvl6pPr marL="457200" algn="ctr" defTabSz="887413" rtl="0" eaLnBrk="1" fontAlgn="base" hangingPunct="1">
        <a:spcBef>
          <a:spcPct val="0"/>
        </a:spcBef>
        <a:spcAft>
          <a:spcPct val="0"/>
        </a:spcAft>
        <a:defRPr sz="2400" b="1">
          <a:solidFill>
            <a:srgbClr val="003399"/>
          </a:solidFill>
          <a:latin typeface="Arial" charset="0"/>
          <a:cs typeface="Arial" charset="0"/>
        </a:defRPr>
      </a:lvl6pPr>
      <a:lvl7pPr marL="914400" algn="ctr" defTabSz="887413" rtl="0" eaLnBrk="1" fontAlgn="base" hangingPunct="1">
        <a:spcBef>
          <a:spcPct val="0"/>
        </a:spcBef>
        <a:spcAft>
          <a:spcPct val="0"/>
        </a:spcAft>
        <a:defRPr sz="2400" b="1">
          <a:solidFill>
            <a:srgbClr val="003399"/>
          </a:solidFill>
          <a:latin typeface="Arial" charset="0"/>
          <a:cs typeface="Arial" charset="0"/>
        </a:defRPr>
      </a:lvl7pPr>
      <a:lvl8pPr marL="1371600" algn="ctr" defTabSz="887413" rtl="0" eaLnBrk="1" fontAlgn="base" hangingPunct="1">
        <a:spcBef>
          <a:spcPct val="0"/>
        </a:spcBef>
        <a:spcAft>
          <a:spcPct val="0"/>
        </a:spcAft>
        <a:defRPr sz="2400" b="1">
          <a:solidFill>
            <a:srgbClr val="003399"/>
          </a:solidFill>
          <a:latin typeface="Arial" charset="0"/>
          <a:cs typeface="Arial" charset="0"/>
        </a:defRPr>
      </a:lvl8pPr>
      <a:lvl9pPr marL="1828800" algn="ctr" defTabSz="887413" rtl="0" eaLnBrk="1" fontAlgn="base" hangingPunct="1">
        <a:spcBef>
          <a:spcPct val="0"/>
        </a:spcBef>
        <a:spcAft>
          <a:spcPct val="0"/>
        </a:spcAft>
        <a:defRPr sz="2400" b="1">
          <a:solidFill>
            <a:srgbClr val="003399"/>
          </a:solidFill>
          <a:latin typeface="Arial" charset="0"/>
          <a:cs typeface="Arial" charset="0"/>
        </a:defRPr>
      </a:lvl9pPr>
    </p:titleStyle>
    <p:body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65138" indent="-23336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682625" indent="-21748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914400" indent="-231775"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1028700" indent="-114300"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tiff"/><Relationship Id="rId5" Type="http://schemas.openxmlformats.org/officeDocument/2006/relationships/image" Target="../media/image5.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svg"/><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image" Target="../media/image37.png"/><Relationship Id="rId5" Type="http://schemas.openxmlformats.org/officeDocument/2006/relationships/image" Target="../media/image5.emf"/><Relationship Id="rId4" Type="http://schemas.openxmlformats.org/officeDocument/2006/relationships/oleObject" Target="../embeddings/oleObject23.bin"/><Relationship Id="rId9" Type="http://schemas.openxmlformats.org/officeDocument/2006/relationships/image" Target="../media/image40.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slideLayout" Target="../slideLayouts/slideLayout4.xml"/><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8.emf"/><Relationship Id="rId10" Type="http://schemas.openxmlformats.org/officeDocument/2006/relationships/image" Target="../media/image45.svg"/><Relationship Id="rId4" Type="http://schemas.openxmlformats.org/officeDocument/2006/relationships/oleObject" Target="../embeddings/oleObject25.bin"/><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slideLayout" Target="../slideLayouts/slideLayout4.xml"/><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48.png"/><Relationship Id="rId11" Type="http://schemas.openxmlformats.org/officeDocument/2006/relationships/image" Target="../media/image46.png"/><Relationship Id="rId5" Type="http://schemas.openxmlformats.org/officeDocument/2006/relationships/image" Target="../media/image8.emf"/><Relationship Id="rId10" Type="http://schemas.openxmlformats.org/officeDocument/2006/relationships/image" Target="../media/image50.svg"/><Relationship Id="rId4" Type="http://schemas.openxmlformats.org/officeDocument/2006/relationships/oleObject" Target="../embeddings/oleObject26.bin"/><Relationship Id="rId9"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slideLayout" Target="../slideLayouts/slideLayout4.xml"/><Relationship Id="rId7" Type="http://schemas.openxmlformats.org/officeDocument/2006/relationships/image" Target="../media/image42.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51.jpg"/><Relationship Id="rId5" Type="http://schemas.openxmlformats.org/officeDocument/2006/relationships/image" Target="../media/image8.emf"/><Relationship Id="rId10" Type="http://schemas.openxmlformats.org/officeDocument/2006/relationships/image" Target="../media/image47.svg"/><Relationship Id="rId4" Type="http://schemas.openxmlformats.org/officeDocument/2006/relationships/oleObject" Target="../embeddings/oleObject27.bin"/><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8.png"/><Relationship Id="rId3" Type="http://schemas.openxmlformats.org/officeDocument/2006/relationships/slideLayout" Target="../slideLayouts/slideLayout3.xml"/><Relationship Id="rId7" Type="http://schemas.openxmlformats.org/officeDocument/2006/relationships/image" Target="../media/image53.jpg"/><Relationship Id="rId12" Type="http://schemas.openxmlformats.org/officeDocument/2006/relationships/image" Target="../media/image57.png"/><Relationship Id="rId2" Type="http://schemas.openxmlformats.org/officeDocument/2006/relationships/tags" Target="../tags/tag53.xml"/><Relationship Id="rId16" Type="http://schemas.openxmlformats.org/officeDocument/2006/relationships/image" Target="../media/image61.jpeg"/><Relationship Id="rId1" Type="http://schemas.openxmlformats.org/officeDocument/2006/relationships/vmlDrawing" Target="../drawings/vmlDrawing29.vml"/><Relationship Id="rId6" Type="http://schemas.openxmlformats.org/officeDocument/2006/relationships/image" Target="../media/image52.png"/><Relationship Id="rId11" Type="http://schemas.openxmlformats.org/officeDocument/2006/relationships/image" Target="../media/image56.png"/><Relationship Id="rId5" Type="http://schemas.openxmlformats.org/officeDocument/2006/relationships/image" Target="../media/image8.emf"/><Relationship Id="rId15" Type="http://schemas.openxmlformats.org/officeDocument/2006/relationships/image" Target="../media/image60.jpg"/><Relationship Id="rId10" Type="http://schemas.openxmlformats.org/officeDocument/2006/relationships/image" Target="../media/image55.jpeg"/><Relationship Id="rId4" Type="http://schemas.openxmlformats.org/officeDocument/2006/relationships/oleObject" Target="../embeddings/oleObject29.bin"/><Relationship Id="rId9" Type="http://schemas.openxmlformats.org/officeDocument/2006/relationships/image" Target="../media/image51.jpg"/><Relationship Id="rId14" Type="http://schemas.openxmlformats.org/officeDocument/2006/relationships/image" Target="../media/image59.jpg"/></Relationships>
</file>

<file path=ppt/slides/_rels/slide1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8.png"/><Relationship Id="rId3" Type="http://schemas.openxmlformats.org/officeDocument/2006/relationships/slideLayout" Target="../slideLayouts/slideLayout3.xml"/><Relationship Id="rId7" Type="http://schemas.openxmlformats.org/officeDocument/2006/relationships/image" Target="../media/image63.png"/><Relationship Id="rId12" Type="http://schemas.openxmlformats.org/officeDocument/2006/relationships/image" Target="../media/image48.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8.emf"/><Relationship Id="rId10" Type="http://schemas.openxmlformats.org/officeDocument/2006/relationships/image" Target="../media/image66.png"/><Relationship Id="rId4" Type="http://schemas.openxmlformats.org/officeDocument/2006/relationships/oleObject" Target="../embeddings/oleObject30.bin"/><Relationship Id="rId9" Type="http://schemas.openxmlformats.org/officeDocument/2006/relationships/image" Target="../media/image65.png"/><Relationship Id="rId14" Type="http://schemas.openxmlformats.org/officeDocument/2006/relationships/image" Target="../media/image69.png"/></Relationships>
</file>

<file path=ppt/slides/_rels/slide1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11.xml"/><Relationship Id="rId7" Type="http://schemas.openxmlformats.org/officeDocument/2006/relationships/hyperlink" Target="mailto:James@jamesemmettandcompany.com" TargetMode="External"/><Relationship Id="rId12" Type="http://schemas.openxmlformats.org/officeDocument/2006/relationships/image" Target="../media/image73.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70.png"/><Relationship Id="rId11" Type="http://schemas.openxmlformats.org/officeDocument/2006/relationships/hyperlink" Target="mailto:David@jamesemmettandcompany.com" TargetMode="External"/><Relationship Id="rId5" Type="http://schemas.openxmlformats.org/officeDocument/2006/relationships/image" Target="../media/image8.emf"/><Relationship Id="rId10" Type="http://schemas.openxmlformats.org/officeDocument/2006/relationships/image" Target="../media/image72.png"/><Relationship Id="rId4" Type="http://schemas.openxmlformats.org/officeDocument/2006/relationships/oleObject" Target="../embeddings/oleObject31.bin"/><Relationship Id="rId9" Type="http://schemas.openxmlformats.org/officeDocument/2006/relationships/hyperlink" Target="mailto:Jon@jamesemmettandcompany.com"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ps.psychiatryonline.org/doi/10.1176/ps.2008.59.2.147" TargetMode="External"/><Relationship Id="rId13" Type="http://schemas.openxmlformats.org/officeDocument/2006/relationships/hyperlink" Target="https://www.findlaw.com/family/foster-care/foster-children-medical-issues-and-children-with-disabilities.html" TargetMode="External"/><Relationship Id="rId3" Type="http://schemas.openxmlformats.org/officeDocument/2006/relationships/slideLayout" Target="../slideLayouts/slideLayout3.xml"/><Relationship Id="rId7" Type="http://schemas.openxmlformats.org/officeDocument/2006/relationships/hyperlink" Target="https://aeasseincludes.assp.org/professionalsafety/pastissues/057/06/062_071_F1Ka_0612.pdf" TargetMode="External"/><Relationship Id="rId12" Type="http://schemas.openxmlformats.org/officeDocument/2006/relationships/hyperlink" Target="https://www.disabilityscoop.com/2009/07/16/homeless-report/4153/" TargetMode="Externa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hyperlink" Target="https://www.disabilitystatistics.org/reports/acs.cfm?statistic=2" TargetMode="External"/><Relationship Id="rId11" Type="http://schemas.openxmlformats.org/officeDocument/2006/relationships/hyperlink" Target="https://ldaamerica.org/lda_today/disability-and-criminal-justice-reform/" TargetMode="External"/><Relationship Id="rId5" Type="http://schemas.openxmlformats.org/officeDocument/2006/relationships/image" Target="../media/image5.emf"/><Relationship Id="rId10" Type="http://schemas.openxmlformats.org/officeDocument/2006/relationships/hyperlink" Target="https://www.dol.gov/agencies/vets/latest-numbers" TargetMode="External"/><Relationship Id="rId4" Type="http://schemas.openxmlformats.org/officeDocument/2006/relationships/oleObject" Target="../embeddings/oleObject32.bin"/><Relationship Id="rId9" Type="http://schemas.openxmlformats.org/officeDocument/2006/relationships/hyperlink" Target="https://askjan.org/topics/costs.cfm" TargetMode="External"/><Relationship Id="rId14" Type="http://schemas.openxmlformats.org/officeDocument/2006/relationships/hyperlink" Target="https://www.apa.org/monitor/oct01/disabilities"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tags" Target="../tags/tag31.xml"/><Relationship Id="rId21" Type="http://schemas.openxmlformats.org/officeDocument/2006/relationships/image" Target="../media/image18.jpeg"/><Relationship Id="rId7" Type="http://schemas.openxmlformats.org/officeDocument/2006/relationships/tags" Target="../tags/tag35.xml"/><Relationship Id="rId12" Type="http://schemas.openxmlformats.org/officeDocument/2006/relationships/image" Target="../media/image10.jpeg"/><Relationship Id="rId17" Type="http://schemas.openxmlformats.org/officeDocument/2006/relationships/image" Target="../media/image15.svg"/><Relationship Id="rId2" Type="http://schemas.openxmlformats.org/officeDocument/2006/relationships/tags" Target="../tags/tag30.xml"/><Relationship Id="rId16" Type="http://schemas.openxmlformats.org/officeDocument/2006/relationships/image" Target="../media/image14.png"/><Relationship Id="rId20" Type="http://schemas.openxmlformats.org/officeDocument/2006/relationships/chart" Target="../charts/chart1.xml"/><Relationship Id="rId1" Type="http://schemas.openxmlformats.org/officeDocument/2006/relationships/vmlDrawing" Target="../drawings/vmlDrawing16.vml"/><Relationship Id="rId6" Type="http://schemas.openxmlformats.org/officeDocument/2006/relationships/tags" Target="../tags/tag34.xml"/><Relationship Id="rId11" Type="http://schemas.openxmlformats.org/officeDocument/2006/relationships/image" Target="../media/image9.jpeg"/><Relationship Id="rId5" Type="http://schemas.openxmlformats.org/officeDocument/2006/relationships/tags" Target="../tags/tag33.xml"/><Relationship Id="rId15" Type="http://schemas.openxmlformats.org/officeDocument/2006/relationships/image" Target="../media/image13.jpeg"/><Relationship Id="rId10" Type="http://schemas.openxmlformats.org/officeDocument/2006/relationships/image" Target="../media/image8.emf"/><Relationship Id="rId19" Type="http://schemas.openxmlformats.org/officeDocument/2006/relationships/image" Target="../media/image17.svg"/><Relationship Id="rId4" Type="http://schemas.openxmlformats.org/officeDocument/2006/relationships/tags" Target="../tags/tag32.xml"/><Relationship Id="rId9" Type="http://schemas.openxmlformats.org/officeDocument/2006/relationships/oleObject" Target="../embeddings/oleObject16.bin"/><Relationship Id="rId14" Type="http://schemas.openxmlformats.org/officeDocument/2006/relationships/image" Target="../media/image12.jpeg"/><Relationship Id="rId22" Type="http://schemas.openxmlformats.org/officeDocument/2006/relationships/image" Target="../media/image19.jpe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3.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22.svg"/><Relationship Id="rId2" Type="http://schemas.openxmlformats.org/officeDocument/2006/relationships/tags" Target="../tags/tag36.xml"/><Relationship Id="rId16" Type="http://schemas.openxmlformats.org/officeDocument/2006/relationships/image" Target="../media/image26.svg"/><Relationship Id="rId1" Type="http://schemas.openxmlformats.org/officeDocument/2006/relationships/vmlDrawing" Target="../drawings/vmlDrawing17.vml"/><Relationship Id="rId6" Type="http://schemas.openxmlformats.org/officeDocument/2006/relationships/tags" Target="../tags/tag40.xml"/><Relationship Id="rId11" Type="http://schemas.openxmlformats.org/officeDocument/2006/relationships/image" Target="../media/image21.png"/><Relationship Id="rId5" Type="http://schemas.openxmlformats.org/officeDocument/2006/relationships/tags" Target="../tags/tag39.xml"/><Relationship Id="rId15" Type="http://schemas.openxmlformats.org/officeDocument/2006/relationships/image" Target="../media/image25.png"/><Relationship Id="rId10" Type="http://schemas.openxmlformats.org/officeDocument/2006/relationships/image" Target="../media/image20.emf"/><Relationship Id="rId4" Type="http://schemas.openxmlformats.org/officeDocument/2006/relationships/tags" Target="../tags/tag38.xml"/><Relationship Id="rId9" Type="http://schemas.openxmlformats.org/officeDocument/2006/relationships/oleObject" Target="../embeddings/oleObject17.bin"/><Relationship Id="rId14"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jpeg"/><Relationship Id="rId3" Type="http://schemas.openxmlformats.org/officeDocument/2006/relationships/slideLayout" Target="../slideLayouts/slideLayout5.xml"/><Relationship Id="rId7" Type="http://schemas.openxmlformats.org/officeDocument/2006/relationships/image" Target="../media/image28.svg"/><Relationship Id="rId12" Type="http://schemas.openxmlformats.org/officeDocument/2006/relationships/image" Target="../media/image33.jpeg"/><Relationship Id="rId2" Type="http://schemas.openxmlformats.org/officeDocument/2006/relationships/tags" Target="../tags/tag43.xml"/><Relationship Id="rId1" Type="http://schemas.openxmlformats.org/officeDocument/2006/relationships/vmlDrawing" Target="../drawings/vmlDrawing19.v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5.emf"/><Relationship Id="rId10" Type="http://schemas.openxmlformats.org/officeDocument/2006/relationships/image" Target="../media/image31.png"/><Relationship Id="rId4" Type="http://schemas.openxmlformats.org/officeDocument/2006/relationships/oleObject" Target="../embeddings/oleObject19.bin"/><Relationship Id="rId9" Type="http://schemas.openxmlformats.org/officeDocument/2006/relationships/image" Target="../media/image30.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4.xml"/><Relationship Id="rId7" Type="http://schemas.openxmlformats.org/officeDocument/2006/relationships/image" Target="../media/image36.svg"/><Relationship Id="rId2" Type="http://schemas.openxmlformats.org/officeDocument/2006/relationships/tags" Target="../tags/tag45.xml"/><Relationship Id="rId1" Type="http://schemas.openxmlformats.org/officeDocument/2006/relationships/vmlDrawing" Target="../drawings/vmlDrawing21.vml"/><Relationship Id="rId6" Type="http://schemas.openxmlformats.org/officeDocument/2006/relationships/image" Target="../media/image35.png"/><Relationship Id="rId5" Type="http://schemas.openxmlformats.org/officeDocument/2006/relationships/image" Target="../media/image5.emf"/><Relationship Id="rId4" Type="http://schemas.openxmlformats.org/officeDocument/2006/relationships/oleObject" Target="../embeddings/oleObject21.bin"/><Relationship Id="rId9" Type="http://schemas.openxmlformats.org/officeDocument/2006/relationships/image" Target="../media/image38.sv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svg"/><Relationship Id="rId2" Type="http://schemas.openxmlformats.org/officeDocument/2006/relationships/tags" Target="../tags/tag46.xml"/><Relationship Id="rId1" Type="http://schemas.openxmlformats.org/officeDocument/2006/relationships/vmlDrawing" Target="../drawings/vmlDrawing22.vml"/><Relationship Id="rId6" Type="http://schemas.openxmlformats.org/officeDocument/2006/relationships/image" Target="../media/image37.png"/><Relationship Id="rId5" Type="http://schemas.openxmlformats.org/officeDocument/2006/relationships/image" Target="../media/image5.emf"/><Relationship Id="rId4" Type="http://schemas.openxmlformats.org/officeDocument/2006/relationships/oleObject" Target="../embeddings/oleObject22.bin"/><Relationship Id="rId9"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E79CA3-FD8F-4497-B7F6-F0D2AFAD9292}"/>
              </a:ext>
            </a:extLst>
          </p:cNvPr>
          <p:cNvGraphicFramePr>
            <a:graphicFrameLocks noChangeAspect="1"/>
          </p:cNvGraphicFramePr>
          <p:nvPr>
            <p:custDataLst>
              <p:tags r:id="rId2"/>
            </p:custDataLst>
            <p:extLst>
              <p:ext uri="{D42A27DB-BD31-4B8C-83A1-F6EECF244321}">
                <p14:modId xmlns:p14="http://schemas.microsoft.com/office/powerpoint/2010/main" val="193979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4" imgW="421" imgH="420" progId="TCLayout.ActiveDocument.1">
                  <p:embed/>
                </p:oleObj>
              </mc:Choice>
              <mc:Fallback>
                <p:oleObj name="think-cell Slide" r:id="rId4" imgW="421" imgH="420" progId="TCLayout.ActiveDocument.1">
                  <p:embed/>
                  <p:pic>
                    <p:nvPicPr>
                      <p:cNvPr id="5" name="Object 4" hidden="1">
                        <a:extLst>
                          <a:ext uri="{FF2B5EF4-FFF2-40B4-BE49-F238E27FC236}">
                            <a16:creationId xmlns:a16="http://schemas.microsoft.com/office/drawing/2014/main" id="{4AE79CA3-FD8F-4497-B7F6-F0D2AFAD9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33EEB64-B098-41BD-BB25-D83300EA5502}"/>
              </a:ext>
            </a:extLst>
          </p:cNvPr>
          <p:cNvSpPr/>
          <p:nvPr/>
        </p:nvSpPr>
        <p:spPr bwMode="auto">
          <a:xfrm>
            <a:off x="0" y="0"/>
            <a:ext cx="10058400" cy="3379787"/>
          </a:xfrm>
          <a:prstGeom prst="rect">
            <a:avLst/>
          </a:prstGeom>
          <a:solidFill>
            <a:srgbClr val="0003EF"/>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3" name="Title 2">
            <a:extLst>
              <a:ext uri="{FF2B5EF4-FFF2-40B4-BE49-F238E27FC236}">
                <a16:creationId xmlns:a16="http://schemas.microsoft.com/office/drawing/2014/main" id="{C85E4204-925C-4DB9-B341-97A1475139D5}"/>
              </a:ext>
            </a:extLst>
          </p:cNvPr>
          <p:cNvSpPr>
            <a:spLocks noGrp="1"/>
          </p:cNvSpPr>
          <p:nvPr>
            <p:ph type="ctrTitle"/>
          </p:nvPr>
        </p:nvSpPr>
        <p:spPr>
          <a:xfrm>
            <a:off x="1927226" y="4131940"/>
            <a:ext cx="6205537" cy="295275"/>
          </a:xfrm>
        </p:spPr>
        <p:txBody>
          <a:bodyPr vert="horz"/>
          <a:lstStyle/>
          <a:p>
            <a:r>
              <a:rPr lang="id-ID" sz="2800" dirty="0"/>
              <a:t>Alternativ</a:t>
            </a:r>
            <a:r>
              <a:rPr lang="en-US" sz="2800" dirty="0"/>
              <a:t>e</a:t>
            </a:r>
            <a:r>
              <a:rPr lang="id-ID" sz="2800" dirty="0"/>
              <a:t> Workforc</a:t>
            </a:r>
            <a:r>
              <a:rPr lang="en-US" sz="2800" dirty="0"/>
              <a:t>e</a:t>
            </a:r>
            <a:r>
              <a:rPr lang="id-ID" sz="2800" dirty="0"/>
              <a:t> </a:t>
            </a:r>
            <a:r>
              <a:rPr lang="en-US" sz="2800"/>
              <a:t>Description</a:t>
            </a:r>
            <a:br>
              <a:rPr lang="en-US" sz="2800"/>
            </a:br>
            <a:r>
              <a:rPr lang="en-US" sz="2800"/>
              <a:t>MEAF</a:t>
            </a:r>
            <a:endParaRPr lang="id-ID" sz="2800" dirty="0"/>
          </a:p>
        </p:txBody>
      </p:sp>
      <p:pic>
        <p:nvPicPr>
          <p:cNvPr id="8" name="Picture 7">
            <a:extLst>
              <a:ext uri="{FF2B5EF4-FFF2-40B4-BE49-F238E27FC236}">
                <a16:creationId xmlns:a16="http://schemas.microsoft.com/office/drawing/2014/main" id="{42248271-B25F-4217-9B08-2765AE076A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96465" y="495536"/>
            <a:ext cx="2154417" cy="2504508"/>
          </a:xfrm>
          <a:prstGeom prst="rect">
            <a:avLst/>
          </a:prstGeom>
        </p:spPr>
      </p:pic>
      <p:pic>
        <p:nvPicPr>
          <p:cNvPr id="13" name="Picture 12">
            <a:extLst>
              <a:ext uri="{FF2B5EF4-FFF2-40B4-BE49-F238E27FC236}">
                <a16:creationId xmlns:a16="http://schemas.microsoft.com/office/drawing/2014/main" id="{BF0A3F62-13A9-4CC1-98E3-9EC83DE46C1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218316" y="16467"/>
            <a:ext cx="2286000" cy="1385457"/>
          </a:xfrm>
          <a:prstGeom prst="rect">
            <a:avLst/>
          </a:prstGeom>
        </p:spPr>
      </p:pic>
      <p:sp>
        <p:nvSpPr>
          <p:cNvPr id="14" name="TextBox 13">
            <a:extLst>
              <a:ext uri="{FF2B5EF4-FFF2-40B4-BE49-F238E27FC236}">
                <a16:creationId xmlns:a16="http://schemas.microsoft.com/office/drawing/2014/main" id="{55A99839-B4BF-465B-A234-637DB5661525}"/>
              </a:ext>
            </a:extLst>
          </p:cNvPr>
          <p:cNvSpPr txBox="1"/>
          <p:nvPr/>
        </p:nvSpPr>
        <p:spPr>
          <a:xfrm>
            <a:off x="2976971" y="1399244"/>
            <a:ext cx="6768691" cy="553998"/>
          </a:xfrm>
          <a:prstGeom prst="rect">
            <a:avLst/>
          </a:prstGeom>
          <a:noFill/>
        </p:spPr>
        <p:txBody>
          <a:bodyPr wrap="square" rtlCol="0">
            <a:spAutoFit/>
          </a:bodyPr>
          <a:lstStyle>
            <a:defPPr>
              <a:defRPr lang="en-US"/>
            </a:defPPr>
            <a:lvl1pPr marL="0" algn="l" defTabSz="512064" rtl="0" eaLnBrk="1" latinLnBrk="0" hangingPunct="1">
              <a:defRPr sz="1008" kern="1200">
                <a:solidFill>
                  <a:schemeClr val="tx1"/>
                </a:solidFill>
                <a:latin typeface="+mn-lt"/>
                <a:ea typeface="+mn-ea"/>
                <a:cs typeface="+mn-cs"/>
              </a:defRPr>
            </a:lvl1pPr>
            <a:lvl2pPr marL="256032" algn="l" defTabSz="512064" rtl="0" eaLnBrk="1" latinLnBrk="0" hangingPunct="1">
              <a:defRPr sz="1008" kern="1200">
                <a:solidFill>
                  <a:schemeClr val="tx1"/>
                </a:solidFill>
                <a:latin typeface="+mn-lt"/>
                <a:ea typeface="+mn-ea"/>
                <a:cs typeface="+mn-cs"/>
              </a:defRPr>
            </a:lvl2pPr>
            <a:lvl3pPr marL="512064" algn="l" defTabSz="512064" rtl="0" eaLnBrk="1" latinLnBrk="0" hangingPunct="1">
              <a:defRPr sz="1008" kern="1200">
                <a:solidFill>
                  <a:schemeClr val="tx1"/>
                </a:solidFill>
                <a:latin typeface="+mn-lt"/>
                <a:ea typeface="+mn-ea"/>
                <a:cs typeface="+mn-cs"/>
              </a:defRPr>
            </a:lvl3pPr>
            <a:lvl4pPr marL="768096" algn="l" defTabSz="512064" rtl="0" eaLnBrk="1" latinLnBrk="0" hangingPunct="1">
              <a:defRPr sz="1008" kern="1200">
                <a:solidFill>
                  <a:schemeClr val="tx1"/>
                </a:solidFill>
                <a:latin typeface="+mn-lt"/>
                <a:ea typeface="+mn-ea"/>
                <a:cs typeface="+mn-cs"/>
              </a:defRPr>
            </a:lvl4pPr>
            <a:lvl5pPr marL="1024128" algn="l" defTabSz="512064" rtl="0" eaLnBrk="1" latinLnBrk="0" hangingPunct="1">
              <a:defRPr sz="1008" kern="1200">
                <a:solidFill>
                  <a:schemeClr val="tx1"/>
                </a:solidFill>
                <a:latin typeface="+mn-lt"/>
                <a:ea typeface="+mn-ea"/>
                <a:cs typeface="+mn-cs"/>
              </a:defRPr>
            </a:lvl5pPr>
            <a:lvl6pPr marL="1280160" algn="l" defTabSz="512064" rtl="0" eaLnBrk="1" latinLnBrk="0" hangingPunct="1">
              <a:defRPr sz="1008" kern="1200">
                <a:solidFill>
                  <a:schemeClr val="tx1"/>
                </a:solidFill>
                <a:latin typeface="+mn-lt"/>
                <a:ea typeface="+mn-ea"/>
                <a:cs typeface="+mn-cs"/>
              </a:defRPr>
            </a:lvl6pPr>
            <a:lvl7pPr marL="1536192" algn="l" defTabSz="512064" rtl="0" eaLnBrk="1" latinLnBrk="0" hangingPunct="1">
              <a:defRPr sz="1008" kern="1200">
                <a:solidFill>
                  <a:schemeClr val="tx1"/>
                </a:solidFill>
                <a:latin typeface="+mn-lt"/>
                <a:ea typeface="+mn-ea"/>
                <a:cs typeface="+mn-cs"/>
              </a:defRPr>
            </a:lvl7pPr>
            <a:lvl8pPr marL="1792224" algn="l" defTabSz="512064" rtl="0" eaLnBrk="1" latinLnBrk="0" hangingPunct="1">
              <a:defRPr sz="1008" kern="1200">
                <a:solidFill>
                  <a:schemeClr val="tx1"/>
                </a:solidFill>
                <a:latin typeface="+mn-lt"/>
                <a:ea typeface="+mn-ea"/>
                <a:cs typeface="+mn-cs"/>
              </a:defRPr>
            </a:lvl8pPr>
            <a:lvl9pPr marL="2048256" algn="l" defTabSz="512064" rtl="0" eaLnBrk="1" latinLnBrk="0" hangingPunct="1">
              <a:defRPr sz="1008" kern="1200">
                <a:solidFill>
                  <a:schemeClr val="tx1"/>
                </a:solidFill>
                <a:latin typeface="+mn-lt"/>
                <a:ea typeface="+mn-ea"/>
                <a:cs typeface="+mn-cs"/>
              </a:defRPr>
            </a:lvl9pPr>
          </a:lstStyle>
          <a:p>
            <a:pPr algn="ctr"/>
            <a:r>
              <a:rPr lang="en-US" sz="3000" b="1" dirty="0">
                <a:solidFill>
                  <a:schemeClr val="bg1"/>
                </a:solidFill>
                <a:latin typeface="Arial" panose="020B0604020202020204" pitchFamily="34" charset="0"/>
                <a:cs typeface="Arial" panose="020B0604020202020204" pitchFamily="34" charset="0"/>
              </a:rPr>
              <a:t>“Your Alternative Workforce”</a:t>
            </a:r>
          </a:p>
        </p:txBody>
      </p:sp>
      <p:sp>
        <p:nvSpPr>
          <p:cNvPr id="15" name="TextBox 14">
            <a:extLst>
              <a:ext uri="{FF2B5EF4-FFF2-40B4-BE49-F238E27FC236}">
                <a16:creationId xmlns:a16="http://schemas.microsoft.com/office/drawing/2014/main" id="{32AF7E93-600E-414B-89A5-284A9C6D500C}"/>
              </a:ext>
            </a:extLst>
          </p:cNvPr>
          <p:cNvSpPr txBox="1"/>
          <p:nvPr/>
        </p:nvSpPr>
        <p:spPr>
          <a:xfrm>
            <a:off x="3246739" y="2223728"/>
            <a:ext cx="6229154" cy="707886"/>
          </a:xfrm>
          <a:prstGeom prst="rect">
            <a:avLst/>
          </a:prstGeom>
          <a:noFill/>
        </p:spPr>
        <p:txBody>
          <a:bodyPr wrap="square" rtlCol="0">
            <a:spAutoFit/>
          </a:bodyPr>
          <a:lstStyle>
            <a:defPPr>
              <a:defRPr lang="en-US"/>
            </a:defPPr>
            <a:lvl1pPr marL="0" algn="l" defTabSz="512064" rtl="0" eaLnBrk="1" latinLnBrk="0" hangingPunct="1">
              <a:defRPr sz="1008" kern="1200">
                <a:solidFill>
                  <a:schemeClr val="tx1"/>
                </a:solidFill>
                <a:latin typeface="+mn-lt"/>
                <a:ea typeface="+mn-ea"/>
                <a:cs typeface="+mn-cs"/>
              </a:defRPr>
            </a:lvl1pPr>
            <a:lvl2pPr marL="256032" algn="l" defTabSz="512064" rtl="0" eaLnBrk="1" latinLnBrk="0" hangingPunct="1">
              <a:defRPr sz="1008" kern="1200">
                <a:solidFill>
                  <a:schemeClr val="tx1"/>
                </a:solidFill>
                <a:latin typeface="+mn-lt"/>
                <a:ea typeface="+mn-ea"/>
                <a:cs typeface="+mn-cs"/>
              </a:defRPr>
            </a:lvl2pPr>
            <a:lvl3pPr marL="512064" algn="l" defTabSz="512064" rtl="0" eaLnBrk="1" latinLnBrk="0" hangingPunct="1">
              <a:defRPr sz="1008" kern="1200">
                <a:solidFill>
                  <a:schemeClr val="tx1"/>
                </a:solidFill>
                <a:latin typeface="+mn-lt"/>
                <a:ea typeface="+mn-ea"/>
                <a:cs typeface="+mn-cs"/>
              </a:defRPr>
            </a:lvl3pPr>
            <a:lvl4pPr marL="768096" algn="l" defTabSz="512064" rtl="0" eaLnBrk="1" latinLnBrk="0" hangingPunct="1">
              <a:defRPr sz="1008" kern="1200">
                <a:solidFill>
                  <a:schemeClr val="tx1"/>
                </a:solidFill>
                <a:latin typeface="+mn-lt"/>
                <a:ea typeface="+mn-ea"/>
                <a:cs typeface="+mn-cs"/>
              </a:defRPr>
            </a:lvl4pPr>
            <a:lvl5pPr marL="1024128" algn="l" defTabSz="512064" rtl="0" eaLnBrk="1" latinLnBrk="0" hangingPunct="1">
              <a:defRPr sz="1008" kern="1200">
                <a:solidFill>
                  <a:schemeClr val="tx1"/>
                </a:solidFill>
                <a:latin typeface="+mn-lt"/>
                <a:ea typeface="+mn-ea"/>
                <a:cs typeface="+mn-cs"/>
              </a:defRPr>
            </a:lvl5pPr>
            <a:lvl6pPr marL="1280160" algn="l" defTabSz="512064" rtl="0" eaLnBrk="1" latinLnBrk="0" hangingPunct="1">
              <a:defRPr sz="1008" kern="1200">
                <a:solidFill>
                  <a:schemeClr val="tx1"/>
                </a:solidFill>
                <a:latin typeface="+mn-lt"/>
                <a:ea typeface="+mn-ea"/>
                <a:cs typeface="+mn-cs"/>
              </a:defRPr>
            </a:lvl6pPr>
            <a:lvl7pPr marL="1536192" algn="l" defTabSz="512064" rtl="0" eaLnBrk="1" latinLnBrk="0" hangingPunct="1">
              <a:defRPr sz="1008" kern="1200">
                <a:solidFill>
                  <a:schemeClr val="tx1"/>
                </a:solidFill>
                <a:latin typeface="+mn-lt"/>
                <a:ea typeface="+mn-ea"/>
                <a:cs typeface="+mn-cs"/>
              </a:defRPr>
            </a:lvl7pPr>
            <a:lvl8pPr marL="1792224" algn="l" defTabSz="512064" rtl="0" eaLnBrk="1" latinLnBrk="0" hangingPunct="1">
              <a:defRPr sz="1008" kern="1200">
                <a:solidFill>
                  <a:schemeClr val="tx1"/>
                </a:solidFill>
                <a:latin typeface="+mn-lt"/>
                <a:ea typeface="+mn-ea"/>
                <a:cs typeface="+mn-cs"/>
              </a:defRPr>
            </a:lvl8pPr>
            <a:lvl9pPr marL="2048256" algn="l" defTabSz="512064" rtl="0" eaLnBrk="1" latinLnBrk="0" hangingPunct="1">
              <a:defRPr sz="1008" kern="1200">
                <a:solidFill>
                  <a:schemeClr val="tx1"/>
                </a:solidFill>
                <a:latin typeface="+mn-lt"/>
                <a:ea typeface="+mn-ea"/>
                <a:cs typeface="+mn-cs"/>
              </a:defRPr>
            </a:lvl9pPr>
          </a:lstStyle>
          <a:p>
            <a:pPr algn="ctr"/>
            <a:r>
              <a:rPr lang="en-US" sz="2000" b="1" dirty="0">
                <a:solidFill>
                  <a:schemeClr val="bg1"/>
                </a:solidFill>
                <a:latin typeface="Arial" panose="020B0604020202020204" pitchFamily="34" charset="0"/>
                <a:cs typeface="Arial" panose="020B0604020202020204" pitchFamily="34" charset="0"/>
              </a:rPr>
              <a:t>J A M E S   E M M ET T   &amp;   C O M P A N Y</a:t>
            </a:r>
            <a:endParaRPr lang="en-US" sz="2000" b="1" dirty="0">
              <a:latin typeface="Arial" panose="020B0604020202020204" pitchFamily="34" charset="0"/>
              <a:cs typeface="Arial" panose="020B0604020202020204" pitchFamily="34" charset="0"/>
            </a:endParaRPr>
          </a:p>
          <a:p>
            <a:pPr algn="ctr"/>
            <a:r>
              <a:rPr lang="en-US" sz="2000" dirty="0">
                <a:solidFill>
                  <a:srgbClr val="00FF00"/>
                </a:solidFill>
                <a:latin typeface="Arial" panose="020B0604020202020204" pitchFamily="34" charset="0"/>
                <a:cs typeface="Arial" panose="020B0604020202020204" pitchFamily="34" charset="0"/>
              </a:rPr>
              <a:t>http://jamesemmettandcompany.com/</a:t>
            </a:r>
          </a:p>
        </p:txBody>
      </p:sp>
    </p:spTree>
    <p:extLst>
      <p:ext uri="{BB962C8B-B14F-4D97-AF65-F5344CB8AC3E}">
        <p14:creationId xmlns:p14="http://schemas.microsoft.com/office/powerpoint/2010/main" val="2514987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8AD01D-7829-424C-B9DD-8F8EFFB212FC}"/>
              </a:ext>
            </a:extLst>
          </p:cNvPr>
          <p:cNvGraphicFramePr>
            <a:graphicFrameLocks noChangeAspect="1"/>
          </p:cNvGraphicFramePr>
          <p:nvPr>
            <p:custDataLst>
              <p:tags r:id="rId2"/>
            </p:custDataLst>
            <p:extLst>
              <p:ext uri="{D42A27DB-BD31-4B8C-83A1-F6EECF244321}">
                <p14:modId xmlns:p14="http://schemas.microsoft.com/office/powerpoint/2010/main" val="2528224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4" imgW="421" imgH="420" progId="TCLayout.ActiveDocument.1">
                  <p:embed/>
                </p:oleObj>
              </mc:Choice>
              <mc:Fallback>
                <p:oleObj name="think-cell Slide" r:id="rId4" imgW="421" imgH="420" progId="TCLayout.ActiveDocument.1">
                  <p:embed/>
                  <p:pic>
                    <p:nvPicPr>
                      <p:cNvPr id="7" name="Object 6" hidden="1">
                        <a:extLst>
                          <a:ext uri="{FF2B5EF4-FFF2-40B4-BE49-F238E27FC236}">
                            <a16:creationId xmlns:a16="http://schemas.microsoft.com/office/drawing/2014/main" id="{A58AD01D-7829-424C-B9DD-8F8EFFB212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CA2C2A-0506-4AA8-8492-B6D4DE862604}"/>
              </a:ext>
            </a:extLst>
          </p:cNvPr>
          <p:cNvSpPr>
            <a:spLocks noGrp="1"/>
          </p:cNvSpPr>
          <p:nvPr>
            <p:ph type="title"/>
          </p:nvPr>
        </p:nvSpPr>
        <p:spPr/>
        <p:txBody>
          <a:bodyPr vert="horz"/>
          <a:lstStyle/>
          <a:p>
            <a:r>
              <a:rPr lang="en-US" dirty="0"/>
              <a:t>Proactive Resolution: </a:t>
            </a:r>
            <a:r>
              <a:rPr lang="en-US" b="0" i="1" dirty="0"/>
              <a:t>Common Concerns (3/3)</a:t>
            </a:r>
            <a:endParaRPr lang="en-US" dirty="0"/>
          </a:p>
        </p:txBody>
      </p:sp>
      <p:sp>
        <p:nvSpPr>
          <p:cNvPr id="4" name="Text Placeholder 3">
            <a:extLst>
              <a:ext uri="{FF2B5EF4-FFF2-40B4-BE49-F238E27FC236}">
                <a16:creationId xmlns:a16="http://schemas.microsoft.com/office/drawing/2014/main" id="{4DBB1669-1586-49AE-ACF0-E762EC31715F}"/>
              </a:ext>
            </a:extLst>
          </p:cNvPr>
          <p:cNvSpPr>
            <a:spLocks noGrp="1"/>
          </p:cNvSpPr>
          <p:nvPr>
            <p:ph type="body" sz="quarter" idx="13"/>
          </p:nvPr>
        </p:nvSpPr>
        <p:spPr/>
        <p:txBody>
          <a:bodyPr/>
          <a:lstStyle/>
          <a:p>
            <a:r>
              <a:rPr lang="en-US" dirty="0"/>
              <a:t>General questions about Facilities and Human Resources</a:t>
            </a:r>
          </a:p>
          <a:p>
            <a:endParaRPr lang="en-US" dirty="0"/>
          </a:p>
        </p:txBody>
      </p:sp>
      <p:graphicFrame>
        <p:nvGraphicFramePr>
          <p:cNvPr id="5" name="Table 12">
            <a:extLst>
              <a:ext uri="{FF2B5EF4-FFF2-40B4-BE49-F238E27FC236}">
                <a16:creationId xmlns:a16="http://schemas.microsoft.com/office/drawing/2014/main" id="{5263DBC7-36E7-4FAB-8A46-3F6D6E8EB9B6}"/>
              </a:ext>
            </a:extLst>
          </p:cNvPr>
          <p:cNvGraphicFramePr>
            <a:graphicFrameLocks noGrp="1"/>
          </p:cNvGraphicFramePr>
          <p:nvPr>
            <p:extLst>
              <p:ext uri="{D42A27DB-BD31-4B8C-83A1-F6EECF244321}">
                <p14:modId xmlns:p14="http://schemas.microsoft.com/office/powerpoint/2010/main" val="410564368"/>
              </p:ext>
            </p:extLst>
          </p:nvPr>
        </p:nvGraphicFramePr>
        <p:xfrm>
          <a:off x="313522" y="1695429"/>
          <a:ext cx="9431357" cy="5241775"/>
        </p:xfrm>
        <a:graphic>
          <a:graphicData uri="http://schemas.openxmlformats.org/drawingml/2006/table">
            <a:tbl>
              <a:tblPr firstRow="1" bandRow="1">
                <a:tableStyleId>{5C22544A-7EE6-4342-B048-85BDC9FD1C3A}</a:tableStyleId>
              </a:tblPr>
              <a:tblGrid>
                <a:gridCol w="1012854">
                  <a:extLst>
                    <a:ext uri="{9D8B030D-6E8A-4147-A177-3AD203B41FA5}">
                      <a16:colId xmlns:a16="http://schemas.microsoft.com/office/drawing/2014/main" val="1359353289"/>
                    </a:ext>
                  </a:extLst>
                </a:gridCol>
                <a:gridCol w="3874600">
                  <a:extLst>
                    <a:ext uri="{9D8B030D-6E8A-4147-A177-3AD203B41FA5}">
                      <a16:colId xmlns:a16="http://schemas.microsoft.com/office/drawing/2014/main" val="324897474"/>
                    </a:ext>
                  </a:extLst>
                </a:gridCol>
                <a:gridCol w="4543903">
                  <a:extLst>
                    <a:ext uri="{9D8B030D-6E8A-4147-A177-3AD203B41FA5}">
                      <a16:colId xmlns:a16="http://schemas.microsoft.com/office/drawing/2014/main" val="84815540"/>
                    </a:ext>
                  </a:extLst>
                </a:gridCol>
              </a:tblGrid>
              <a:tr h="368023">
                <a:tc>
                  <a:txBody>
                    <a:bodyPr/>
                    <a:lstStyle/>
                    <a:p>
                      <a:endParaRPr lang="en-US" dirty="0"/>
                    </a:p>
                  </a:txBody>
                  <a:tcPr>
                    <a:lnB w="12700" cap="flat" cmpd="sng" algn="ctr">
                      <a:solidFill>
                        <a:schemeClr val="tx1"/>
                      </a:solidFill>
                      <a:prstDash val="solid"/>
                      <a:round/>
                      <a:headEnd type="none" w="med" len="med"/>
                      <a:tailEnd type="none" w="med" len="med"/>
                    </a:lnB>
                    <a:noFill/>
                  </a:tcPr>
                </a:tc>
                <a:tc>
                  <a:txBody>
                    <a:bodyPr/>
                    <a:lstStyle/>
                    <a:p>
                      <a:pPr algn="ctr"/>
                      <a:r>
                        <a:rPr lang="en-US" sz="1600" dirty="0"/>
                        <a:t>Facilities</a:t>
                      </a:r>
                    </a:p>
                  </a:txBody>
                  <a:tcPr>
                    <a:lnB w="12700" cap="flat" cmpd="sng" algn="ctr">
                      <a:solidFill>
                        <a:schemeClr val="tx1"/>
                      </a:solidFill>
                      <a:prstDash val="solid"/>
                      <a:round/>
                      <a:headEnd type="none" w="med" len="med"/>
                      <a:tailEnd type="none" w="med" len="med"/>
                    </a:lnB>
                    <a:solidFill>
                      <a:srgbClr val="3E3E6D"/>
                    </a:solidFill>
                  </a:tcPr>
                </a:tc>
                <a:tc>
                  <a:txBody>
                    <a:bodyPr/>
                    <a:lstStyle/>
                    <a:p>
                      <a:pPr algn="ctr"/>
                      <a:r>
                        <a:rPr lang="en-US" sz="1600" dirty="0"/>
                        <a:t>Human Resources</a:t>
                      </a:r>
                    </a:p>
                  </a:txBody>
                  <a:tcPr>
                    <a:lnB w="12700" cap="flat" cmpd="sng" algn="ctr">
                      <a:solidFill>
                        <a:schemeClr val="tx1"/>
                      </a:solidFill>
                      <a:prstDash val="solid"/>
                      <a:round/>
                      <a:headEnd type="none" w="med" len="med"/>
                      <a:tailEnd type="none" w="med" len="med"/>
                    </a:lnB>
                    <a:solidFill>
                      <a:srgbClr val="3E3E6D"/>
                    </a:solidFill>
                  </a:tcPr>
                </a:tc>
                <a:extLst>
                  <a:ext uri="{0D108BD9-81ED-4DB2-BD59-A6C34878D82A}">
                    <a16:rowId xmlns:a16="http://schemas.microsoft.com/office/drawing/2014/main" val="3026894624"/>
                  </a:ext>
                </a:extLst>
              </a:tr>
              <a:tr h="1581912">
                <a:tc>
                  <a:txBody>
                    <a:bodyPr/>
                    <a:lstStyle/>
                    <a:p>
                      <a:r>
                        <a:rPr lang="en-US" sz="1400" dirty="0"/>
                        <a:t>Ques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types of interactions have been required with Facilities?  </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Is this just accommodation or other situations/requirements?</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Pushback from Facilities? If yes, what was it and how was it resol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types of HR inputs are requi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2204330"/>
                  </a:ext>
                </a:extLst>
              </a:tr>
              <a:tr h="3291840">
                <a:tc>
                  <a:txBody>
                    <a:bodyPr/>
                    <a:lstStyle/>
                    <a:p>
                      <a:r>
                        <a:rPr lang="en-US" sz="1400" dirty="0"/>
                        <a:t>Answ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Many contracts assume that Facilities will need to be involved because companies anticipate structural changes needed.  No JEC project has ever involved physical changes to a structure (ex: elevators, ramps, etc.) </a:t>
                      </a: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No modified workstations or modified forklift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No modified workstations of modified forklift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No dramatic expensive changes to facilities or equipmen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defTabSz="502920">
                        <a:buClr>
                          <a:srgbClr val="0000FF"/>
                        </a:buClr>
                        <a:buFont typeface="Wingdings" panose="05000000000000000000" pitchFamily="2" charset="2"/>
                        <a:buChar char="§"/>
                      </a:pPr>
                      <a:r>
                        <a:rPr lang="en-US" altLang="en-US" sz="1400" dirty="0">
                          <a:solidFill>
                            <a:prstClr val="black"/>
                          </a:solidFill>
                        </a:rPr>
                        <a:t>After assessing systems, JEC may make recommendations related to flexibility with:</a:t>
                      </a:r>
                    </a:p>
                    <a:p>
                      <a:pPr marL="285750" indent="-285750" defTabSz="502920">
                        <a:buClr>
                          <a:srgbClr val="0000FF"/>
                        </a:buClr>
                        <a:buFont typeface="Wingdings" panose="05000000000000000000" pitchFamily="2" charset="2"/>
                        <a:buChar char="§"/>
                      </a:pPr>
                      <a:r>
                        <a:rPr lang="en-US" altLang="en-US" sz="1400" dirty="0">
                          <a:solidFill>
                            <a:prstClr val="black"/>
                          </a:solidFill>
                        </a:rPr>
                        <a:t>Shifts HR flexibility on this directly influences impact of the initiative</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However, if there is a reason for a shift having to be a certain way (productivity or other reasons), then JEC does not pursue it further</a:t>
                      </a:r>
                    </a:p>
                    <a:p>
                      <a:pPr marL="285750" indent="-285750" defTabSz="502920">
                        <a:buClr>
                          <a:srgbClr val="0000FF"/>
                        </a:buClr>
                        <a:buFont typeface="Wingdings" panose="05000000000000000000" pitchFamily="2" charset="2"/>
                        <a:buChar char="§"/>
                      </a:pPr>
                      <a:r>
                        <a:rPr lang="en-US" altLang="en-US" sz="1400" dirty="0">
                          <a:solidFill>
                            <a:prstClr val="black"/>
                          </a:solidFill>
                        </a:rPr>
                        <a:t>Screening process flexibility</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Customers find that leveraging JEC personnel in  screening &amp; interviews improves inclusionary component of the </a:t>
                      </a:r>
                      <a:r>
                        <a:rPr lang="en-US" altLang="en-US" sz="1400">
                          <a:solidFill>
                            <a:prstClr val="black"/>
                          </a:solidFill>
                        </a:rPr>
                        <a:t>hiring process</a:t>
                      </a:r>
                      <a:endParaRPr lang="en-US" altLang="en-US" sz="1400" dirty="0">
                        <a:solidFill>
                          <a:prstClr val="black"/>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0751830"/>
                  </a:ext>
                </a:extLst>
              </a:tr>
            </a:tbl>
          </a:graphicData>
        </a:graphic>
      </p:graphicFrame>
      <p:sp>
        <p:nvSpPr>
          <p:cNvPr id="8" name="Text Placeholder 4">
            <a:extLst>
              <a:ext uri="{FF2B5EF4-FFF2-40B4-BE49-F238E27FC236}">
                <a16:creationId xmlns:a16="http://schemas.microsoft.com/office/drawing/2014/main" id="{20E4BB12-9CC6-49D0-9F7A-E254E30F3A7F}"/>
              </a:ext>
            </a:extLst>
          </p:cNvPr>
          <p:cNvSpPr>
            <a:spLocks noGrp="1"/>
          </p:cNvSpPr>
          <p:nvPr>
            <p:ph type="body" sz="quarter" idx="11"/>
          </p:nvPr>
        </p:nvSpPr>
        <p:spPr>
          <a:xfrm>
            <a:off x="329184" y="7086600"/>
            <a:ext cx="8229600" cy="393192"/>
          </a:xfrm>
        </p:spPr>
        <p:txBody>
          <a:bodyPr/>
          <a:lstStyle/>
          <a:p>
            <a:r>
              <a:rPr lang="id-ID" dirty="0"/>
              <a:t>www.jamesemmettandcompany.com</a:t>
            </a:r>
          </a:p>
        </p:txBody>
      </p:sp>
      <p:pic>
        <p:nvPicPr>
          <p:cNvPr id="9" name="Graphic 8" descr="Presentation with pie chart with solid fill">
            <a:extLst>
              <a:ext uri="{FF2B5EF4-FFF2-40B4-BE49-F238E27FC236}">
                <a16:creationId xmlns:a16="http://schemas.microsoft.com/office/drawing/2014/main" id="{DFBB6760-DBBD-4508-B607-AACD79A539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152" y="4719420"/>
            <a:ext cx="914400" cy="914400"/>
          </a:xfrm>
          <a:prstGeom prst="rect">
            <a:avLst/>
          </a:prstGeom>
        </p:spPr>
      </p:pic>
      <p:pic>
        <p:nvPicPr>
          <p:cNvPr id="10" name="Graphic 9" descr="Questions with solid fill">
            <a:extLst>
              <a:ext uri="{FF2B5EF4-FFF2-40B4-BE49-F238E27FC236}">
                <a16:creationId xmlns:a16="http://schemas.microsoft.com/office/drawing/2014/main" id="{4884F762-1325-47A1-AB11-8DA0341CF8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8152" y="2484276"/>
            <a:ext cx="914400" cy="914400"/>
          </a:xfrm>
          <a:prstGeom prst="rect">
            <a:avLst/>
          </a:prstGeom>
        </p:spPr>
      </p:pic>
    </p:spTree>
    <p:extLst>
      <p:ext uri="{BB962C8B-B14F-4D97-AF65-F5344CB8AC3E}">
        <p14:creationId xmlns:p14="http://schemas.microsoft.com/office/powerpoint/2010/main" val="1745075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77F1EB25-1C94-4212-8475-B096CE91A007}"/>
              </a:ext>
            </a:extLst>
          </p:cNvPr>
          <p:cNvSpPr/>
          <p:nvPr/>
        </p:nvSpPr>
        <p:spPr bwMode="auto">
          <a:xfrm>
            <a:off x="312738" y="4383967"/>
            <a:ext cx="9432925" cy="576065"/>
          </a:xfrm>
          <a:prstGeom prst="rect">
            <a:avLst/>
          </a:prstGeom>
          <a:solidFill>
            <a:srgbClr val="00FF00"/>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9" name="Rectangle 3"/>
          <p:cNvSpPr txBox="1">
            <a:spLocks noChangeArrowheads="1"/>
          </p:cNvSpPr>
          <p:nvPr/>
        </p:nvSpPr>
        <p:spPr bwMode="black">
          <a:xfrm>
            <a:off x="1061032" y="2370063"/>
            <a:ext cx="7936336" cy="3385542"/>
          </a:xfrm>
          <a:prstGeom prst="rect">
            <a:avLst/>
          </a:prstGeom>
          <a:noFill/>
          <a:ln w="12700">
            <a:noFill/>
            <a:miter lim="800000"/>
            <a:headEnd/>
            <a:tailEnd/>
          </a:ln>
        </p:spPr>
        <p:txBody>
          <a:bodyPr vert="horz" wrap="square" lIns="0" tIns="0" rIns="0" bIns="0" numCol="1" anchor="t" anchorCtr="1" compatLnSpc="1">
            <a:prstTxWarp prst="textNoShape">
              <a:avLst/>
            </a:prstTxWarp>
            <a:spAutoFit/>
          </a:bodyPr>
          <a:lst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07988" indent="-1762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576263" indent="-165100"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712788" indent="-13493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827088" indent="10017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0" indent="0">
              <a:buNone/>
            </a:pPr>
            <a:endParaRPr lang="en-US" sz="2000" kern="0" dirty="0"/>
          </a:p>
          <a:p>
            <a:pPr>
              <a:buClr>
                <a:srgbClr val="0000FF"/>
              </a:buClr>
              <a:buFont typeface="Wingdings" panose="05000000000000000000" pitchFamily="2" charset="2"/>
              <a:buChar char="§"/>
            </a:pPr>
            <a:r>
              <a:rPr lang="en-US" sz="2000" kern="0" dirty="0"/>
              <a:t>Introduc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ject Framework</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active Resolu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ase Studies</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ustomer Portfolio</a:t>
            </a:r>
          </a:p>
          <a:p>
            <a:pPr marL="0" indent="0">
              <a:buNone/>
            </a:pPr>
            <a:endParaRPr lang="en-US" sz="2000" kern="0" dirty="0"/>
          </a:p>
        </p:txBody>
      </p:sp>
      <p:sp>
        <p:nvSpPr>
          <p:cNvPr id="6" name="Title 5">
            <a:extLst>
              <a:ext uri="{FF2B5EF4-FFF2-40B4-BE49-F238E27FC236}">
                <a16:creationId xmlns:a16="http://schemas.microsoft.com/office/drawing/2014/main" id="{B2CB34CC-D576-4B1A-9D37-90AFD89BF0B3}"/>
              </a:ext>
            </a:extLst>
          </p:cNvPr>
          <p:cNvSpPr>
            <a:spLocks noGrp="1"/>
          </p:cNvSpPr>
          <p:nvPr>
            <p:ph type="title"/>
          </p:nvPr>
        </p:nvSpPr>
        <p:spPr>
          <a:xfrm>
            <a:off x="306388" y="457200"/>
            <a:ext cx="9447212" cy="442913"/>
          </a:xfrm>
        </p:spPr>
        <p:txBody>
          <a:bodyPr vert="horz"/>
          <a:lstStyle/>
          <a:p>
            <a:r>
              <a:rPr lang="en-US" dirty="0"/>
              <a:t>Agenda</a:t>
            </a:r>
          </a:p>
        </p:txBody>
      </p:sp>
    </p:spTree>
    <p:extLst>
      <p:ext uri="{BB962C8B-B14F-4D97-AF65-F5344CB8AC3E}">
        <p14:creationId xmlns:p14="http://schemas.microsoft.com/office/powerpoint/2010/main" val="3428572173"/>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139064-6F7C-4E8B-AE6C-9837F6DD25D3}"/>
              </a:ext>
            </a:extLst>
          </p:cNvPr>
          <p:cNvGraphicFramePr>
            <a:graphicFrameLocks noChangeAspect="1"/>
          </p:cNvGraphicFramePr>
          <p:nvPr>
            <p:custDataLst>
              <p:tags r:id="rId2"/>
            </p:custDataLst>
            <p:extLst>
              <p:ext uri="{D42A27DB-BD31-4B8C-83A1-F6EECF244321}">
                <p14:modId xmlns:p14="http://schemas.microsoft.com/office/powerpoint/2010/main" val="270561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DC139064-6F7C-4E8B-AE6C-9837F6DD25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27472E06-E9FC-4A7B-A3CD-F5B16C7FA8B9}"/>
              </a:ext>
            </a:extLst>
          </p:cNvPr>
          <p:cNvSpPr>
            <a:spLocks noGrp="1"/>
          </p:cNvSpPr>
          <p:nvPr>
            <p:ph type="title"/>
          </p:nvPr>
        </p:nvSpPr>
        <p:spPr/>
        <p:txBody>
          <a:bodyPr vert="horz"/>
          <a:lstStyle/>
          <a:p>
            <a:r>
              <a:rPr lang="en-US" dirty="0"/>
              <a:t>Case Study: </a:t>
            </a:r>
            <a:r>
              <a:rPr lang="en-US" b="0" i="1" dirty="0"/>
              <a:t>Advance Auto Parts</a:t>
            </a:r>
          </a:p>
        </p:txBody>
      </p:sp>
      <p:sp>
        <p:nvSpPr>
          <p:cNvPr id="14" name="Text Placeholder 13">
            <a:extLst>
              <a:ext uri="{FF2B5EF4-FFF2-40B4-BE49-F238E27FC236}">
                <a16:creationId xmlns:a16="http://schemas.microsoft.com/office/drawing/2014/main" id="{DDBB7896-0E41-4B0A-B8DD-D5601C953CE7}"/>
              </a:ext>
            </a:extLst>
          </p:cNvPr>
          <p:cNvSpPr>
            <a:spLocks noGrp="1"/>
          </p:cNvSpPr>
          <p:nvPr>
            <p:ph type="body" sz="quarter" idx="11"/>
          </p:nvPr>
        </p:nvSpPr>
        <p:spPr/>
        <p:txBody>
          <a:bodyPr/>
          <a:lstStyle/>
          <a:p>
            <a:r>
              <a:rPr lang="id-ID" dirty="0"/>
              <a:t>www.jamesemmettandcompany.com</a:t>
            </a:r>
          </a:p>
        </p:txBody>
      </p:sp>
      <p:sp>
        <p:nvSpPr>
          <p:cNvPr id="15" name="Text Placeholder 14">
            <a:extLst>
              <a:ext uri="{FF2B5EF4-FFF2-40B4-BE49-F238E27FC236}">
                <a16:creationId xmlns:a16="http://schemas.microsoft.com/office/drawing/2014/main" id="{779D0031-37F8-46B3-86B1-6854D88380ED}"/>
              </a:ext>
            </a:extLst>
          </p:cNvPr>
          <p:cNvSpPr>
            <a:spLocks noGrp="1"/>
          </p:cNvSpPr>
          <p:nvPr>
            <p:ph type="body" sz="quarter" idx="13"/>
          </p:nvPr>
        </p:nvSpPr>
        <p:spPr/>
        <p:txBody>
          <a:bodyPr/>
          <a:lstStyle/>
          <a:p>
            <a:r>
              <a:rPr lang="en-US" dirty="0"/>
              <a:t>Since late 2019, JEC has worked with Advance Auto Parts to achieve its goal in creating an alternative workforce in all its locations by 2023</a:t>
            </a:r>
          </a:p>
        </p:txBody>
      </p:sp>
      <p:sp>
        <p:nvSpPr>
          <p:cNvPr id="19" name="Rectangle: Rounded Corners 18">
            <a:extLst>
              <a:ext uri="{FF2B5EF4-FFF2-40B4-BE49-F238E27FC236}">
                <a16:creationId xmlns:a16="http://schemas.microsoft.com/office/drawing/2014/main" id="{1874B6ED-09AF-4D57-AD0C-BCFF2B4AE06F}"/>
              </a:ext>
            </a:extLst>
          </p:cNvPr>
          <p:cNvSpPr/>
          <p:nvPr/>
        </p:nvSpPr>
        <p:spPr bwMode="auto">
          <a:xfrm>
            <a:off x="365350" y="1770174"/>
            <a:ext cx="1991330" cy="957610"/>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Situation</a:t>
            </a:r>
          </a:p>
        </p:txBody>
      </p:sp>
      <p:sp>
        <p:nvSpPr>
          <p:cNvPr id="20" name="Rectangle: Rounded Corners 19">
            <a:extLst>
              <a:ext uri="{FF2B5EF4-FFF2-40B4-BE49-F238E27FC236}">
                <a16:creationId xmlns:a16="http://schemas.microsoft.com/office/drawing/2014/main" id="{3079FC1D-F4F4-46D9-BE7A-909A8E7A0D65}"/>
              </a:ext>
            </a:extLst>
          </p:cNvPr>
          <p:cNvSpPr/>
          <p:nvPr/>
        </p:nvSpPr>
        <p:spPr bwMode="auto">
          <a:xfrm>
            <a:off x="357127" y="2871800"/>
            <a:ext cx="2007777" cy="1973939"/>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Results</a:t>
            </a:r>
          </a:p>
        </p:txBody>
      </p:sp>
      <p:sp>
        <p:nvSpPr>
          <p:cNvPr id="21" name="Rectangle: Rounded Corners 20">
            <a:extLst>
              <a:ext uri="{FF2B5EF4-FFF2-40B4-BE49-F238E27FC236}">
                <a16:creationId xmlns:a16="http://schemas.microsoft.com/office/drawing/2014/main" id="{85405BE8-4B96-4552-AE0F-80BDD6672357}"/>
              </a:ext>
            </a:extLst>
          </p:cNvPr>
          <p:cNvSpPr/>
          <p:nvPr/>
        </p:nvSpPr>
        <p:spPr bwMode="auto">
          <a:xfrm>
            <a:off x="365350" y="4924028"/>
            <a:ext cx="1991330" cy="2044626"/>
          </a:xfrm>
          <a:prstGeom prst="roundRect">
            <a:avLst/>
          </a:prstGeom>
          <a:solidFill>
            <a:srgbClr val="3E3E6D"/>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Results and ROI Tracking</a:t>
            </a:r>
          </a:p>
        </p:txBody>
      </p:sp>
      <p:sp>
        <p:nvSpPr>
          <p:cNvPr id="22" name="Rectangle: Rounded Corners 21">
            <a:extLst>
              <a:ext uri="{FF2B5EF4-FFF2-40B4-BE49-F238E27FC236}">
                <a16:creationId xmlns:a16="http://schemas.microsoft.com/office/drawing/2014/main" id="{9A494209-5D3B-41FC-A26F-43968161F7EF}"/>
              </a:ext>
            </a:extLst>
          </p:cNvPr>
          <p:cNvSpPr/>
          <p:nvPr/>
        </p:nvSpPr>
        <p:spPr bwMode="auto">
          <a:xfrm>
            <a:off x="2489688" y="1755676"/>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sz="1400" dirty="0"/>
              <a:t>Began their disability initiative with JEC in late 2019.</a:t>
            </a:r>
          </a:p>
          <a:p>
            <a:pPr marL="285750" indent="-285750" defTabSz="502920">
              <a:buClr>
                <a:srgbClr val="0000FF"/>
              </a:buClr>
              <a:buFont typeface="Wingdings" panose="05000000000000000000" pitchFamily="2" charset="2"/>
              <a:buChar char="§"/>
            </a:pPr>
            <a:r>
              <a:rPr lang="en-US" altLang="en-US" sz="1400" dirty="0">
                <a:solidFill>
                  <a:schemeClr val="tx1"/>
                </a:solidFill>
                <a:latin typeface="Arial"/>
                <a:cs typeface="Arial"/>
              </a:rPr>
              <a:t>Advance Auto Parts’ goal was to create an alternative workforce in all 40+ distribution centers and 5,000 stores by the end of 2023</a:t>
            </a:r>
          </a:p>
          <a:p>
            <a:pPr marL="285750" indent="-285750" defTabSz="502920">
              <a:buClr>
                <a:srgbClr val="0000FF"/>
              </a:buClr>
              <a:buFont typeface="Wingdings" panose="05000000000000000000" pitchFamily="2" charset="2"/>
              <a:buChar char="§"/>
            </a:pPr>
            <a:r>
              <a:rPr lang="en-US" altLang="en-US" sz="1400" b="1" dirty="0">
                <a:solidFill>
                  <a:schemeClr val="tx1"/>
                </a:solidFill>
              </a:rPr>
              <a:t>Metrics</a:t>
            </a:r>
            <a:r>
              <a:rPr lang="en-US" altLang="en-US" sz="1400" dirty="0">
                <a:solidFill>
                  <a:schemeClr val="tx1"/>
                </a:solidFill>
              </a:rPr>
              <a:t>: Productivity, safety, turnover, attendance, employee engagement</a:t>
            </a:r>
          </a:p>
        </p:txBody>
      </p:sp>
      <p:sp>
        <p:nvSpPr>
          <p:cNvPr id="23" name="Rectangle: Rounded Corners 22">
            <a:extLst>
              <a:ext uri="{FF2B5EF4-FFF2-40B4-BE49-F238E27FC236}">
                <a16:creationId xmlns:a16="http://schemas.microsoft.com/office/drawing/2014/main" id="{A62AF51A-36C5-4274-A3EB-C75201B57EFD}"/>
              </a:ext>
            </a:extLst>
          </p:cNvPr>
          <p:cNvSpPr/>
          <p:nvPr/>
        </p:nvSpPr>
        <p:spPr bwMode="auto">
          <a:xfrm>
            <a:off x="2487762" y="2624700"/>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sz="1400" dirty="0"/>
              <a:t>Just passed the 380</a:t>
            </a:r>
            <a:r>
              <a:rPr lang="en-US" sz="1400" baseline="30000" dirty="0"/>
              <a:t>th</a:t>
            </a:r>
            <a:r>
              <a:rPr lang="en-US" sz="1400" dirty="0"/>
              <a:t> hire</a:t>
            </a:r>
          </a:p>
          <a:p>
            <a:pPr marL="285750" indent="-285750" defTabSz="502920">
              <a:buClr>
                <a:srgbClr val="0000FF"/>
              </a:buClr>
              <a:buFont typeface="Wingdings" panose="05000000000000000000" pitchFamily="2" charset="2"/>
              <a:buChar char="§"/>
            </a:pPr>
            <a:r>
              <a:rPr lang="en-US" altLang="en-US" sz="1400" dirty="0">
                <a:solidFill>
                  <a:schemeClr val="tx1"/>
                </a:solidFill>
                <a:latin typeface="Arial"/>
                <a:cs typeface="Arial"/>
              </a:rPr>
              <a:t>Now in more than 15 distribution centers and 200+ stores</a:t>
            </a:r>
          </a:p>
          <a:p>
            <a:pPr marL="285750" indent="-285750" defTabSz="502920">
              <a:buClr>
                <a:srgbClr val="0000FF"/>
              </a:buClr>
              <a:buFont typeface="Wingdings" panose="05000000000000000000" pitchFamily="2" charset="2"/>
              <a:buChar char="§"/>
            </a:pPr>
            <a:r>
              <a:rPr lang="en-US" altLang="en-US" sz="1400" dirty="0">
                <a:solidFill>
                  <a:schemeClr val="tx1"/>
                </a:solidFill>
                <a:latin typeface="Arial"/>
                <a:cs typeface="Arial"/>
              </a:rPr>
              <a:t>Positions hired for primarily entry level</a:t>
            </a:r>
            <a:endParaRPr lang="en-US" altLang="en-US" sz="1400" dirty="0">
              <a:solidFill>
                <a:schemeClr val="tx1"/>
              </a:solidFill>
            </a:endParaRPr>
          </a:p>
          <a:p>
            <a:pPr marL="285750" indent="-285750" defTabSz="502920">
              <a:buClr>
                <a:srgbClr val="0000FF"/>
              </a:buClr>
              <a:buFont typeface="Wingdings" panose="05000000000000000000" pitchFamily="2" charset="2"/>
              <a:buChar char="§"/>
            </a:pPr>
            <a:r>
              <a:rPr lang="en-US" altLang="en-US" sz="1400" dirty="0">
                <a:solidFill>
                  <a:schemeClr val="tx1"/>
                </a:solidFill>
                <a:latin typeface="Arial"/>
                <a:cs typeface="Arial"/>
              </a:rPr>
              <a:t>2020 Full Year Supply Chain Voluntary Turnover 12% (vs. 30-40% turnover rate across the company)</a:t>
            </a:r>
          </a:p>
          <a:p>
            <a:pPr marL="285750" indent="-285750" defTabSz="502920">
              <a:buClr>
                <a:srgbClr val="0000FF"/>
              </a:buClr>
              <a:buFont typeface="Wingdings" panose="05000000000000000000" pitchFamily="2" charset="2"/>
              <a:buChar char="§"/>
            </a:pPr>
            <a:r>
              <a:rPr lang="en-US" altLang="en-US" sz="1400" dirty="0">
                <a:solidFill>
                  <a:schemeClr val="tx1"/>
                </a:solidFill>
              </a:rPr>
              <a:t>Absenteeism decreased</a:t>
            </a:r>
          </a:p>
          <a:p>
            <a:pPr marL="285750" indent="-285750" defTabSz="502920">
              <a:buClr>
                <a:srgbClr val="0000FF"/>
              </a:buClr>
              <a:buFont typeface="Wingdings" panose="05000000000000000000" pitchFamily="2" charset="2"/>
              <a:buChar char="§"/>
            </a:pPr>
            <a:r>
              <a:rPr lang="en-US" altLang="en-US" sz="1400" dirty="0">
                <a:solidFill>
                  <a:schemeClr val="tx1"/>
                </a:solidFill>
              </a:rPr>
              <a:t>Safety improved (0 lost time incidents with 380 hires)</a:t>
            </a:r>
          </a:p>
          <a:p>
            <a:pPr marL="285750" indent="-285750" defTabSz="502920">
              <a:buClr>
                <a:srgbClr val="0000FF"/>
              </a:buClr>
              <a:buFont typeface="Wingdings" panose="05000000000000000000" pitchFamily="2" charset="2"/>
              <a:buChar char="§"/>
            </a:pPr>
            <a:r>
              <a:rPr lang="en-US" altLang="en-US" sz="1400" dirty="0">
                <a:solidFill>
                  <a:schemeClr val="tx1"/>
                </a:solidFill>
              </a:rPr>
              <a:t>Equal productivity</a:t>
            </a:r>
          </a:p>
          <a:p>
            <a:pPr marL="285750" indent="-285750" defTabSz="502920">
              <a:buClr>
                <a:srgbClr val="0000FF"/>
              </a:buClr>
              <a:buFont typeface="Wingdings" panose="05000000000000000000" pitchFamily="2" charset="2"/>
              <a:buChar char="§"/>
            </a:pPr>
            <a:r>
              <a:rPr lang="en-US" altLang="en-US" sz="1400" dirty="0">
                <a:solidFill>
                  <a:schemeClr val="tx1"/>
                </a:solidFill>
                <a:latin typeface="Arial"/>
                <a:cs typeface="Arial"/>
              </a:rPr>
              <a:t>Also, the initiative has become almost completely self funded through turnover savings and incentives</a:t>
            </a:r>
          </a:p>
        </p:txBody>
      </p:sp>
      <p:pic>
        <p:nvPicPr>
          <p:cNvPr id="25" name="Picture 24" descr="A picture containing drawing, stop&#10;&#10;Description automatically generated">
            <a:extLst>
              <a:ext uri="{FF2B5EF4-FFF2-40B4-BE49-F238E27FC236}">
                <a16:creationId xmlns:a16="http://schemas.microsoft.com/office/drawing/2014/main" id="{60DE6D7D-AF46-41BA-B36B-9C5EC6459C0D}"/>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8122823" y="326174"/>
            <a:ext cx="1622840" cy="528028"/>
          </a:xfrm>
          <a:prstGeom prst="rect">
            <a:avLst/>
          </a:prstGeom>
        </p:spPr>
      </p:pic>
      <p:sp>
        <p:nvSpPr>
          <p:cNvPr id="35" name="Chevron 19">
            <a:extLst>
              <a:ext uri="{FF2B5EF4-FFF2-40B4-BE49-F238E27FC236}">
                <a16:creationId xmlns:a16="http://schemas.microsoft.com/office/drawing/2014/main" id="{8D81018C-B041-4A31-8739-E9A1FE42F15B}"/>
              </a:ext>
            </a:extLst>
          </p:cNvPr>
          <p:cNvSpPr/>
          <p:nvPr/>
        </p:nvSpPr>
        <p:spPr bwMode="auto">
          <a:xfrm>
            <a:off x="2652936" y="4933262"/>
            <a:ext cx="1828800" cy="648072"/>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Disability Awareness Training</a:t>
            </a:r>
          </a:p>
        </p:txBody>
      </p:sp>
      <p:sp>
        <p:nvSpPr>
          <p:cNvPr id="38" name="Chevron 19">
            <a:extLst>
              <a:ext uri="{FF2B5EF4-FFF2-40B4-BE49-F238E27FC236}">
                <a16:creationId xmlns:a16="http://schemas.microsoft.com/office/drawing/2014/main" id="{4A8274B2-046D-4C4B-895E-E8170CE00F2F}"/>
              </a:ext>
            </a:extLst>
          </p:cNvPr>
          <p:cNvSpPr/>
          <p:nvPr/>
        </p:nvSpPr>
        <p:spPr bwMode="auto">
          <a:xfrm>
            <a:off x="2652936" y="5636419"/>
            <a:ext cx="1828800" cy="648071"/>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Candidate Resources</a:t>
            </a:r>
          </a:p>
        </p:txBody>
      </p:sp>
      <p:sp>
        <p:nvSpPr>
          <p:cNvPr id="39" name="Chevron 19">
            <a:extLst>
              <a:ext uri="{FF2B5EF4-FFF2-40B4-BE49-F238E27FC236}">
                <a16:creationId xmlns:a16="http://schemas.microsoft.com/office/drawing/2014/main" id="{AF841CCC-5343-40C6-BF66-6208DCBB2475}"/>
              </a:ext>
            </a:extLst>
          </p:cNvPr>
          <p:cNvSpPr/>
          <p:nvPr/>
        </p:nvSpPr>
        <p:spPr bwMode="auto">
          <a:xfrm>
            <a:off x="2652936" y="6337964"/>
            <a:ext cx="1828800" cy="630690"/>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Oversight and Support</a:t>
            </a:r>
          </a:p>
        </p:txBody>
      </p:sp>
      <p:sp>
        <p:nvSpPr>
          <p:cNvPr id="40" name="Chevron 19">
            <a:extLst>
              <a:ext uri="{FF2B5EF4-FFF2-40B4-BE49-F238E27FC236}">
                <a16:creationId xmlns:a16="http://schemas.microsoft.com/office/drawing/2014/main" id="{C74437AD-3305-4F5E-AD23-898301C42472}"/>
              </a:ext>
            </a:extLst>
          </p:cNvPr>
          <p:cNvSpPr/>
          <p:nvPr/>
        </p:nvSpPr>
        <p:spPr bwMode="auto">
          <a:xfrm>
            <a:off x="4894275" y="4933262"/>
            <a:ext cx="4743437" cy="324036"/>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Leaders</a:t>
            </a:r>
          </a:p>
        </p:txBody>
      </p:sp>
      <p:sp>
        <p:nvSpPr>
          <p:cNvPr id="41" name="Chevron 19">
            <a:extLst>
              <a:ext uri="{FF2B5EF4-FFF2-40B4-BE49-F238E27FC236}">
                <a16:creationId xmlns:a16="http://schemas.microsoft.com/office/drawing/2014/main" id="{53DDBCEF-F550-4340-9278-A8BF1AD71AB9}"/>
              </a:ext>
            </a:extLst>
          </p:cNvPr>
          <p:cNvSpPr/>
          <p:nvPr/>
        </p:nvSpPr>
        <p:spPr bwMode="auto">
          <a:xfrm>
            <a:off x="4894275" y="5257298"/>
            <a:ext cx="4743437" cy="324036"/>
          </a:xfrm>
          <a:prstGeom prst="chevron">
            <a:avLst>
              <a:gd name="adj" fmla="val 20000"/>
            </a:avLst>
          </a:prstGeom>
          <a:solidFill>
            <a:schemeClr val="bg1"/>
          </a:solidFill>
          <a:ln w="6350" cap="flat" cmpd="sng" algn="ctr">
            <a:solidFill>
              <a:srgbClr val="00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tx1"/>
                </a:solidFill>
                <a:latin typeface="Arial" pitchFamily="-108" charset="0"/>
              </a:rPr>
              <a:t>Co - Workers</a:t>
            </a:r>
          </a:p>
        </p:txBody>
      </p:sp>
      <p:sp>
        <p:nvSpPr>
          <p:cNvPr id="42" name="Chevron 19">
            <a:extLst>
              <a:ext uri="{FF2B5EF4-FFF2-40B4-BE49-F238E27FC236}">
                <a16:creationId xmlns:a16="http://schemas.microsoft.com/office/drawing/2014/main" id="{4B105D2F-6301-472A-974F-2FCF68E63756}"/>
              </a:ext>
            </a:extLst>
          </p:cNvPr>
          <p:cNvSpPr/>
          <p:nvPr/>
        </p:nvSpPr>
        <p:spPr bwMode="auto">
          <a:xfrm>
            <a:off x="4877887" y="5636420"/>
            <a:ext cx="4743437" cy="324036"/>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Research ALL Possible Community Sources</a:t>
            </a:r>
          </a:p>
        </p:txBody>
      </p:sp>
      <p:sp>
        <p:nvSpPr>
          <p:cNvPr id="43" name="Chevron 19">
            <a:extLst>
              <a:ext uri="{FF2B5EF4-FFF2-40B4-BE49-F238E27FC236}">
                <a16:creationId xmlns:a16="http://schemas.microsoft.com/office/drawing/2014/main" id="{5FEF71B2-81CB-4F04-AD46-5704EB9D8AD8}"/>
              </a:ext>
            </a:extLst>
          </p:cNvPr>
          <p:cNvSpPr/>
          <p:nvPr/>
        </p:nvSpPr>
        <p:spPr bwMode="auto">
          <a:xfrm>
            <a:off x="4877887" y="5960456"/>
            <a:ext cx="4743437" cy="324036"/>
          </a:xfrm>
          <a:prstGeom prst="chevron">
            <a:avLst>
              <a:gd name="adj" fmla="val 20000"/>
            </a:avLst>
          </a:prstGeom>
          <a:solidFill>
            <a:schemeClr val="bg1"/>
          </a:solidFill>
          <a:ln w="6350" cap="flat" cmpd="sng" algn="ctr">
            <a:solidFill>
              <a:srgbClr val="00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tx1"/>
                </a:solidFill>
                <a:latin typeface="Arial" pitchFamily="-108" charset="0"/>
              </a:rPr>
              <a:t>Vetting and Assistance with ATS/Onboarding</a:t>
            </a:r>
          </a:p>
        </p:txBody>
      </p:sp>
      <p:sp>
        <p:nvSpPr>
          <p:cNvPr id="44" name="Chevron 19">
            <a:extLst>
              <a:ext uri="{FF2B5EF4-FFF2-40B4-BE49-F238E27FC236}">
                <a16:creationId xmlns:a16="http://schemas.microsoft.com/office/drawing/2014/main" id="{868D196E-3691-4DB0-B710-BA7F3CA6D085}"/>
              </a:ext>
            </a:extLst>
          </p:cNvPr>
          <p:cNvSpPr/>
          <p:nvPr/>
        </p:nvSpPr>
        <p:spPr bwMode="auto">
          <a:xfrm>
            <a:off x="4877887" y="6320582"/>
            <a:ext cx="4743437" cy="324036"/>
          </a:xfrm>
          <a:prstGeom prst="chevron">
            <a:avLst>
              <a:gd name="adj" fmla="val 20000"/>
            </a:avLst>
          </a:prstGeom>
          <a:solidFill>
            <a:srgbClr val="0003EF"/>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bg1"/>
                </a:solidFill>
                <a:latin typeface="Arial" pitchFamily="-108" charset="0"/>
              </a:rPr>
              <a:t>Consistent Communication</a:t>
            </a:r>
          </a:p>
        </p:txBody>
      </p:sp>
      <p:sp>
        <p:nvSpPr>
          <p:cNvPr id="45" name="Chevron 19">
            <a:extLst>
              <a:ext uri="{FF2B5EF4-FFF2-40B4-BE49-F238E27FC236}">
                <a16:creationId xmlns:a16="http://schemas.microsoft.com/office/drawing/2014/main" id="{8AEF5BB3-6F9A-4A81-94CE-FB52AF46C692}"/>
              </a:ext>
            </a:extLst>
          </p:cNvPr>
          <p:cNvSpPr/>
          <p:nvPr/>
        </p:nvSpPr>
        <p:spPr bwMode="auto">
          <a:xfrm>
            <a:off x="4877887" y="6644618"/>
            <a:ext cx="4743437" cy="324036"/>
          </a:xfrm>
          <a:prstGeom prst="chevron">
            <a:avLst>
              <a:gd name="adj" fmla="val 20000"/>
            </a:avLst>
          </a:prstGeom>
          <a:solidFill>
            <a:schemeClr val="bg1"/>
          </a:solidFill>
          <a:ln w="6350" cap="flat" cmpd="sng" algn="ctr">
            <a:solidFill>
              <a:srgbClr val="00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nSpc>
                <a:spcPct val="90000"/>
              </a:lnSpc>
            </a:pPr>
            <a:r>
              <a:rPr lang="en-US" sz="1200" b="1" dirty="0">
                <a:solidFill>
                  <a:schemeClr val="tx1"/>
                </a:solidFill>
                <a:latin typeface="Arial" pitchFamily="-108" charset="0"/>
              </a:rPr>
              <a:t>Technical Support</a:t>
            </a:r>
          </a:p>
        </p:txBody>
      </p:sp>
      <p:pic>
        <p:nvPicPr>
          <p:cNvPr id="3" name="Graphic 2" descr="Question mark with solid fill">
            <a:extLst>
              <a:ext uri="{FF2B5EF4-FFF2-40B4-BE49-F238E27FC236}">
                <a16:creationId xmlns:a16="http://schemas.microsoft.com/office/drawing/2014/main" id="{968AB043-83A0-4D70-8E63-9F2768268D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0975" y="2057981"/>
            <a:ext cx="640080" cy="640080"/>
          </a:xfrm>
          <a:prstGeom prst="rect">
            <a:avLst/>
          </a:prstGeom>
        </p:spPr>
      </p:pic>
      <p:pic>
        <p:nvPicPr>
          <p:cNvPr id="5" name="Graphic 4" descr="Presentation with pie chart with solid fill">
            <a:extLst>
              <a:ext uri="{FF2B5EF4-FFF2-40B4-BE49-F238E27FC236}">
                <a16:creationId xmlns:a16="http://schemas.microsoft.com/office/drawing/2014/main" id="{FA14117B-3F6F-4F0C-A30D-094D35FA09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3815" y="5609128"/>
            <a:ext cx="914400" cy="914400"/>
          </a:xfrm>
          <a:prstGeom prst="rect">
            <a:avLst/>
          </a:prstGeom>
        </p:spPr>
      </p:pic>
      <p:pic>
        <p:nvPicPr>
          <p:cNvPr id="10" name="Graphic 9" descr="Person with idea with solid fill">
            <a:extLst>
              <a:ext uri="{FF2B5EF4-FFF2-40B4-BE49-F238E27FC236}">
                <a16:creationId xmlns:a16="http://schemas.microsoft.com/office/drawing/2014/main" id="{56919899-B430-4F42-ADB8-2D1A9A4BC93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3815" y="3412884"/>
            <a:ext cx="914400" cy="914400"/>
          </a:xfrm>
          <a:prstGeom prst="rect">
            <a:avLst/>
          </a:prstGeom>
        </p:spPr>
      </p:pic>
    </p:spTree>
    <p:extLst>
      <p:ext uri="{BB962C8B-B14F-4D97-AF65-F5344CB8AC3E}">
        <p14:creationId xmlns:p14="http://schemas.microsoft.com/office/powerpoint/2010/main" val="757168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139064-6F7C-4E8B-AE6C-9837F6DD25D3}"/>
              </a:ext>
            </a:extLst>
          </p:cNvPr>
          <p:cNvGraphicFramePr>
            <a:graphicFrameLocks noChangeAspect="1"/>
          </p:cNvGraphicFramePr>
          <p:nvPr>
            <p:custDataLst>
              <p:tags r:id="rId2"/>
            </p:custDataLst>
            <p:extLst>
              <p:ext uri="{D42A27DB-BD31-4B8C-83A1-F6EECF244321}">
                <p14:modId xmlns:p14="http://schemas.microsoft.com/office/powerpoint/2010/main" val="52377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DC139064-6F7C-4E8B-AE6C-9837F6DD25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27472E06-E9FC-4A7B-A3CD-F5B16C7FA8B9}"/>
              </a:ext>
            </a:extLst>
          </p:cNvPr>
          <p:cNvSpPr>
            <a:spLocks noGrp="1"/>
          </p:cNvSpPr>
          <p:nvPr>
            <p:ph type="title"/>
          </p:nvPr>
        </p:nvSpPr>
        <p:spPr/>
        <p:txBody>
          <a:bodyPr vert="horz"/>
          <a:lstStyle/>
          <a:p>
            <a:r>
              <a:rPr lang="en-US" dirty="0"/>
              <a:t>Case Study: </a:t>
            </a:r>
            <a:r>
              <a:rPr lang="en-US" b="0" i="1" dirty="0"/>
              <a:t>Walgreens</a:t>
            </a:r>
          </a:p>
        </p:txBody>
      </p:sp>
      <p:sp>
        <p:nvSpPr>
          <p:cNvPr id="14" name="Text Placeholder 13">
            <a:extLst>
              <a:ext uri="{FF2B5EF4-FFF2-40B4-BE49-F238E27FC236}">
                <a16:creationId xmlns:a16="http://schemas.microsoft.com/office/drawing/2014/main" id="{DDBB7896-0E41-4B0A-B8DD-D5601C953CE7}"/>
              </a:ext>
            </a:extLst>
          </p:cNvPr>
          <p:cNvSpPr>
            <a:spLocks noGrp="1"/>
          </p:cNvSpPr>
          <p:nvPr>
            <p:ph type="body" sz="quarter" idx="11"/>
          </p:nvPr>
        </p:nvSpPr>
        <p:spPr/>
        <p:txBody>
          <a:bodyPr/>
          <a:lstStyle/>
          <a:p>
            <a:r>
              <a:rPr lang="id-ID" dirty="0"/>
              <a:t>www.jamesemmettandcompany.com</a:t>
            </a:r>
          </a:p>
        </p:txBody>
      </p:sp>
      <p:sp>
        <p:nvSpPr>
          <p:cNvPr id="15" name="Text Placeholder 14">
            <a:extLst>
              <a:ext uri="{FF2B5EF4-FFF2-40B4-BE49-F238E27FC236}">
                <a16:creationId xmlns:a16="http://schemas.microsoft.com/office/drawing/2014/main" id="{779D0031-37F8-46B3-86B1-6854D88380ED}"/>
              </a:ext>
            </a:extLst>
          </p:cNvPr>
          <p:cNvSpPr>
            <a:spLocks noGrp="1"/>
          </p:cNvSpPr>
          <p:nvPr>
            <p:ph type="body" sz="quarter" idx="13"/>
          </p:nvPr>
        </p:nvSpPr>
        <p:spPr/>
        <p:txBody>
          <a:bodyPr/>
          <a:lstStyle/>
          <a:p>
            <a:r>
              <a:rPr lang="en-US" dirty="0"/>
              <a:t>Walgreens was the first corporation to create and sustain an enterprise-wide effort to employ people with disabilities and JEC was entrusted to implement the model</a:t>
            </a:r>
          </a:p>
        </p:txBody>
      </p:sp>
      <p:sp>
        <p:nvSpPr>
          <p:cNvPr id="19" name="Rectangle: Rounded Corners 18">
            <a:extLst>
              <a:ext uri="{FF2B5EF4-FFF2-40B4-BE49-F238E27FC236}">
                <a16:creationId xmlns:a16="http://schemas.microsoft.com/office/drawing/2014/main" id="{1874B6ED-09AF-4D57-AD0C-BCFF2B4AE06F}"/>
              </a:ext>
            </a:extLst>
          </p:cNvPr>
          <p:cNvSpPr/>
          <p:nvPr/>
        </p:nvSpPr>
        <p:spPr bwMode="auto">
          <a:xfrm>
            <a:off x="348233" y="1971700"/>
            <a:ext cx="2052675" cy="1512168"/>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Situation</a:t>
            </a:r>
          </a:p>
        </p:txBody>
      </p:sp>
      <p:sp>
        <p:nvSpPr>
          <p:cNvPr id="20" name="Rectangle: Rounded Corners 19">
            <a:extLst>
              <a:ext uri="{FF2B5EF4-FFF2-40B4-BE49-F238E27FC236}">
                <a16:creationId xmlns:a16="http://schemas.microsoft.com/office/drawing/2014/main" id="{3079FC1D-F4F4-46D9-BE7A-909A8E7A0D65}"/>
              </a:ext>
            </a:extLst>
          </p:cNvPr>
          <p:cNvSpPr/>
          <p:nvPr/>
        </p:nvSpPr>
        <p:spPr bwMode="auto">
          <a:xfrm>
            <a:off x="348233" y="3646965"/>
            <a:ext cx="2052675" cy="1512168"/>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Initial Results</a:t>
            </a:r>
          </a:p>
        </p:txBody>
      </p:sp>
      <p:sp>
        <p:nvSpPr>
          <p:cNvPr id="22" name="Rectangle: Rounded Corners 21">
            <a:extLst>
              <a:ext uri="{FF2B5EF4-FFF2-40B4-BE49-F238E27FC236}">
                <a16:creationId xmlns:a16="http://schemas.microsoft.com/office/drawing/2014/main" id="{9A494209-5D3B-41FC-A26F-43968161F7EF}"/>
              </a:ext>
            </a:extLst>
          </p:cNvPr>
          <p:cNvSpPr/>
          <p:nvPr/>
        </p:nvSpPr>
        <p:spPr bwMode="auto">
          <a:xfrm>
            <a:off x="2489688" y="1957202"/>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sz="1400" dirty="0"/>
              <a:t>In 2007, Walgreens started hiring people with disabilities intentionally at a highly automated DC in Anderson, SC</a:t>
            </a:r>
          </a:p>
          <a:p>
            <a:pPr marL="285750" indent="-285750" defTabSz="502920">
              <a:buClr>
                <a:srgbClr val="0000FF"/>
              </a:buClr>
              <a:buFont typeface="Wingdings" panose="05000000000000000000" pitchFamily="2" charset="2"/>
              <a:buChar char="§"/>
            </a:pPr>
            <a:r>
              <a:rPr lang="en-US" sz="1400" dirty="0"/>
              <a:t>Walgreens created the concept behind the Embedded Specialist model bringing disability and business expertise together</a:t>
            </a:r>
          </a:p>
          <a:p>
            <a:pPr marL="285750" indent="-285750" defTabSz="502920">
              <a:buClr>
                <a:srgbClr val="0000FF"/>
              </a:buClr>
              <a:buFont typeface="Wingdings" panose="05000000000000000000" pitchFamily="2" charset="2"/>
              <a:buChar char="§"/>
            </a:pPr>
            <a:r>
              <a:rPr lang="en-US" sz="1400" dirty="0"/>
              <a:t>JEC leadership team were the trusted individuals to conceptualize and implement this model</a:t>
            </a:r>
          </a:p>
          <a:p>
            <a:pPr marL="285750" indent="-285750" defTabSz="502920">
              <a:buClr>
                <a:srgbClr val="0000FF"/>
              </a:buClr>
              <a:buFont typeface="Wingdings" panose="05000000000000000000" pitchFamily="2" charset="2"/>
              <a:buChar char="§"/>
            </a:pPr>
            <a:endParaRPr lang="en-US" altLang="en-US" sz="1400" dirty="0">
              <a:solidFill>
                <a:schemeClr val="tx1"/>
              </a:solidFill>
            </a:endParaRPr>
          </a:p>
        </p:txBody>
      </p:sp>
      <p:sp>
        <p:nvSpPr>
          <p:cNvPr id="23" name="Rectangle: Rounded Corners 22">
            <a:extLst>
              <a:ext uri="{FF2B5EF4-FFF2-40B4-BE49-F238E27FC236}">
                <a16:creationId xmlns:a16="http://schemas.microsoft.com/office/drawing/2014/main" id="{A62AF51A-36C5-4274-A3EB-C75201B57EFD}"/>
              </a:ext>
            </a:extLst>
          </p:cNvPr>
          <p:cNvSpPr/>
          <p:nvPr/>
        </p:nvSpPr>
        <p:spPr bwMode="auto">
          <a:xfrm>
            <a:off x="2479825" y="3632467"/>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sz="1400" dirty="0">
                <a:solidFill>
                  <a:schemeClr val="tx1"/>
                </a:solidFill>
              </a:rPr>
              <a:t>More than 10% of logistics workforce were people with disabilities (in all levels and roles including DC management, HR, &amp; IT)</a:t>
            </a:r>
          </a:p>
          <a:p>
            <a:pPr marL="285750" indent="-285750" defTabSz="502920">
              <a:buClr>
                <a:srgbClr val="0000FF"/>
              </a:buClr>
              <a:buFont typeface="Wingdings" panose="05000000000000000000" pitchFamily="2" charset="2"/>
              <a:buChar char="§"/>
            </a:pPr>
            <a:r>
              <a:rPr lang="en-US" sz="1400" dirty="0">
                <a:solidFill>
                  <a:schemeClr val="tx1"/>
                </a:solidFill>
              </a:rPr>
              <a:t>43% reduced turnover</a:t>
            </a:r>
          </a:p>
          <a:p>
            <a:pPr marL="285750" indent="-285750" defTabSz="502920">
              <a:buClr>
                <a:srgbClr val="0000FF"/>
              </a:buClr>
              <a:buFont typeface="Wingdings" panose="05000000000000000000" pitchFamily="2" charset="2"/>
              <a:buChar char="§"/>
            </a:pPr>
            <a:r>
              <a:rPr lang="en-US" sz="1400" dirty="0">
                <a:solidFill>
                  <a:schemeClr val="tx1"/>
                </a:solidFill>
              </a:rPr>
              <a:t>Equal productivity and accuracy</a:t>
            </a:r>
          </a:p>
          <a:p>
            <a:pPr marL="285750" indent="-285750" defTabSz="502920">
              <a:buClr>
                <a:srgbClr val="0000FF"/>
              </a:buClr>
              <a:buFont typeface="Wingdings" panose="05000000000000000000" pitchFamily="2" charset="2"/>
              <a:buChar char="§"/>
            </a:pPr>
            <a:r>
              <a:rPr lang="en-US" sz="1400" dirty="0">
                <a:solidFill>
                  <a:schemeClr val="tx1"/>
                </a:solidFill>
              </a:rPr>
              <a:t>Significantly improved safety costs (67% decrease in costs for workers with disabilities, primarily due to reduced lost time)</a:t>
            </a:r>
          </a:p>
          <a:p>
            <a:pPr marL="285750" indent="-285750" defTabSz="502920">
              <a:buClr>
                <a:srgbClr val="0000FF"/>
              </a:buClr>
              <a:buFont typeface="Wingdings" panose="05000000000000000000" pitchFamily="2" charset="2"/>
              <a:buChar char="§"/>
            </a:pPr>
            <a:r>
              <a:rPr lang="en-US" sz="1400" dirty="0">
                <a:solidFill>
                  <a:schemeClr val="tx1"/>
                </a:solidFill>
              </a:rPr>
              <a:t>Brand recognition </a:t>
            </a:r>
            <a:endParaRPr lang="en-US" altLang="en-US" sz="1400" dirty="0">
              <a:solidFill>
                <a:schemeClr val="tx1"/>
              </a:solidFill>
            </a:endParaRPr>
          </a:p>
        </p:txBody>
      </p:sp>
      <p:pic>
        <p:nvPicPr>
          <p:cNvPr id="16" name="Content Placeholder 4">
            <a:extLst>
              <a:ext uri="{FF2B5EF4-FFF2-40B4-BE49-F238E27FC236}">
                <a16:creationId xmlns:a16="http://schemas.microsoft.com/office/drawing/2014/main" id="{24026FD3-55E4-4D32-987F-07054633EE6B}"/>
              </a:ext>
            </a:extLst>
          </p:cNvPr>
          <p:cNvPicPr>
            <a:picLocks noChangeAspect="1"/>
          </p:cNvPicPr>
          <p:nvPr/>
        </p:nvPicPr>
        <p:blipFill>
          <a:blip r:embed="rId6"/>
          <a:stretch>
            <a:fillRect/>
          </a:stretch>
        </p:blipFill>
        <p:spPr>
          <a:xfrm>
            <a:off x="8175403" y="313154"/>
            <a:ext cx="1568745" cy="462780"/>
          </a:xfrm>
          <a:prstGeom prst="rect">
            <a:avLst/>
          </a:prstGeom>
        </p:spPr>
      </p:pic>
      <p:sp>
        <p:nvSpPr>
          <p:cNvPr id="28" name="Rectangle: Rounded Corners 27">
            <a:extLst>
              <a:ext uri="{FF2B5EF4-FFF2-40B4-BE49-F238E27FC236}">
                <a16:creationId xmlns:a16="http://schemas.microsoft.com/office/drawing/2014/main" id="{F1846360-F2D2-41DA-B6BD-E97160F59D9B}"/>
              </a:ext>
            </a:extLst>
          </p:cNvPr>
          <p:cNvSpPr/>
          <p:nvPr/>
        </p:nvSpPr>
        <p:spPr bwMode="auto">
          <a:xfrm>
            <a:off x="348233" y="5306446"/>
            <a:ext cx="2052675" cy="1512168"/>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Notable Highlights</a:t>
            </a:r>
          </a:p>
        </p:txBody>
      </p:sp>
      <p:sp>
        <p:nvSpPr>
          <p:cNvPr id="30" name="Rectangle: Rounded Corners 29">
            <a:extLst>
              <a:ext uri="{FF2B5EF4-FFF2-40B4-BE49-F238E27FC236}">
                <a16:creationId xmlns:a16="http://schemas.microsoft.com/office/drawing/2014/main" id="{9CC92D00-3618-4F91-AE94-83D039DFBF72}"/>
              </a:ext>
            </a:extLst>
          </p:cNvPr>
          <p:cNvSpPr/>
          <p:nvPr/>
        </p:nvSpPr>
        <p:spPr bwMode="auto">
          <a:xfrm>
            <a:off x="2466060" y="5366783"/>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altLang="en-US" sz="1400" dirty="0">
                <a:solidFill>
                  <a:schemeClr val="tx1"/>
                </a:solidFill>
              </a:rPr>
              <a:t>Walgreens was the </a:t>
            </a:r>
            <a:r>
              <a:rPr lang="en-US" altLang="en-US" sz="1400" b="1" dirty="0">
                <a:solidFill>
                  <a:schemeClr val="tx1"/>
                </a:solidFill>
              </a:rPr>
              <a:t>first corporation to create and sustain </a:t>
            </a:r>
            <a:r>
              <a:rPr lang="en-US" altLang="en-US" sz="1400" dirty="0">
                <a:solidFill>
                  <a:schemeClr val="tx1"/>
                </a:solidFill>
              </a:rPr>
              <a:t>an enterprise-wide effort to employ people with disabilities in a way that was </a:t>
            </a:r>
            <a:r>
              <a:rPr lang="en-US" altLang="en-US" sz="1400" b="1" dirty="0">
                <a:solidFill>
                  <a:schemeClr val="tx1"/>
                </a:solidFill>
              </a:rPr>
              <a:t>fair to customers, employees and shareholders alike</a:t>
            </a:r>
          </a:p>
          <a:p>
            <a:pPr marL="285750" indent="-285750" defTabSz="502920">
              <a:buClr>
                <a:srgbClr val="0000FF"/>
              </a:buClr>
              <a:buFont typeface="Wingdings" panose="05000000000000000000" pitchFamily="2" charset="2"/>
              <a:buChar char="§"/>
            </a:pPr>
            <a:r>
              <a:rPr lang="en-US" altLang="en-US" sz="1400" dirty="0">
                <a:solidFill>
                  <a:schemeClr val="tx1"/>
                </a:solidFill>
              </a:rPr>
              <a:t>Walgreens recruits, hires, trains and promotes employees with disabilities in the same jobs, at the same pay, getting the same benefits, side-by- side with employees without disabilities</a:t>
            </a:r>
          </a:p>
          <a:p>
            <a:pPr marL="285750" indent="-285750" defTabSz="502920">
              <a:buClr>
                <a:srgbClr val="0000FF"/>
              </a:buClr>
              <a:buFont typeface="Wingdings" panose="05000000000000000000" pitchFamily="2" charset="2"/>
              <a:buChar char="§"/>
            </a:pPr>
            <a:endParaRPr lang="en-US" altLang="en-US" sz="1400" b="1" dirty="0">
              <a:solidFill>
                <a:schemeClr val="tx1"/>
              </a:solidFill>
            </a:endParaRPr>
          </a:p>
        </p:txBody>
      </p:sp>
      <p:pic>
        <p:nvPicPr>
          <p:cNvPr id="17" name="Graphic 16" descr="Question mark with solid fill">
            <a:extLst>
              <a:ext uri="{FF2B5EF4-FFF2-40B4-BE49-F238E27FC236}">
                <a16:creationId xmlns:a16="http://schemas.microsoft.com/office/drawing/2014/main" id="{85A92660-2984-4947-90B6-1AE8BF607D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0975" y="2507540"/>
            <a:ext cx="640080" cy="640080"/>
          </a:xfrm>
          <a:prstGeom prst="rect">
            <a:avLst/>
          </a:prstGeom>
        </p:spPr>
      </p:pic>
      <p:pic>
        <p:nvPicPr>
          <p:cNvPr id="3" name="Graphic 2" descr="Comment Important with solid fill">
            <a:extLst>
              <a:ext uri="{FF2B5EF4-FFF2-40B4-BE49-F238E27FC236}">
                <a16:creationId xmlns:a16="http://schemas.microsoft.com/office/drawing/2014/main" id="{7DB10265-F753-48B4-8308-2D1D6C09C32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3815" y="5737820"/>
            <a:ext cx="914400" cy="914400"/>
          </a:xfrm>
          <a:prstGeom prst="rect">
            <a:avLst/>
          </a:prstGeom>
        </p:spPr>
      </p:pic>
      <p:pic>
        <p:nvPicPr>
          <p:cNvPr id="21" name="Graphic 20" descr="Person with idea with solid fill">
            <a:extLst>
              <a:ext uri="{FF2B5EF4-FFF2-40B4-BE49-F238E27FC236}">
                <a16:creationId xmlns:a16="http://schemas.microsoft.com/office/drawing/2014/main" id="{82E1F309-463E-48B3-B056-F342A7F635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3815" y="4045645"/>
            <a:ext cx="914400" cy="914400"/>
          </a:xfrm>
          <a:prstGeom prst="rect">
            <a:avLst/>
          </a:prstGeom>
        </p:spPr>
      </p:pic>
    </p:spTree>
    <p:extLst>
      <p:ext uri="{BB962C8B-B14F-4D97-AF65-F5344CB8AC3E}">
        <p14:creationId xmlns:p14="http://schemas.microsoft.com/office/powerpoint/2010/main" val="4106327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139064-6F7C-4E8B-AE6C-9837F6DD25D3}"/>
              </a:ext>
            </a:extLst>
          </p:cNvPr>
          <p:cNvGraphicFramePr>
            <a:graphicFrameLocks noChangeAspect="1"/>
          </p:cNvGraphicFramePr>
          <p:nvPr>
            <p:custDataLst>
              <p:tags r:id="rId2"/>
            </p:custDataLst>
            <p:extLst>
              <p:ext uri="{D42A27DB-BD31-4B8C-83A1-F6EECF244321}">
                <p14:modId xmlns:p14="http://schemas.microsoft.com/office/powerpoint/2010/main" val="1003396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DC139064-6F7C-4E8B-AE6C-9837F6DD25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27472E06-E9FC-4A7B-A3CD-F5B16C7FA8B9}"/>
              </a:ext>
            </a:extLst>
          </p:cNvPr>
          <p:cNvSpPr>
            <a:spLocks noGrp="1"/>
          </p:cNvSpPr>
          <p:nvPr>
            <p:ph type="title"/>
          </p:nvPr>
        </p:nvSpPr>
        <p:spPr/>
        <p:txBody>
          <a:bodyPr vert="horz"/>
          <a:lstStyle/>
          <a:p>
            <a:r>
              <a:rPr lang="en-US" dirty="0"/>
              <a:t>Case Study: </a:t>
            </a:r>
            <a:r>
              <a:rPr lang="en-US" b="0" i="1" dirty="0"/>
              <a:t>Geodis</a:t>
            </a:r>
          </a:p>
        </p:txBody>
      </p:sp>
      <p:sp>
        <p:nvSpPr>
          <p:cNvPr id="14" name="Text Placeholder 13">
            <a:extLst>
              <a:ext uri="{FF2B5EF4-FFF2-40B4-BE49-F238E27FC236}">
                <a16:creationId xmlns:a16="http://schemas.microsoft.com/office/drawing/2014/main" id="{DDBB7896-0E41-4B0A-B8DD-D5601C953CE7}"/>
              </a:ext>
            </a:extLst>
          </p:cNvPr>
          <p:cNvSpPr>
            <a:spLocks noGrp="1"/>
          </p:cNvSpPr>
          <p:nvPr>
            <p:ph type="body" sz="quarter" idx="11"/>
          </p:nvPr>
        </p:nvSpPr>
        <p:spPr/>
        <p:txBody>
          <a:bodyPr/>
          <a:lstStyle/>
          <a:p>
            <a:r>
              <a:rPr lang="id-ID" dirty="0"/>
              <a:t>www.jamesemmettandcompany.com</a:t>
            </a:r>
          </a:p>
        </p:txBody>
      </p:sp>
      <p:sp>
        <p:nvSpPr>
          <p:cNvPr id="15" name="Text Placeholder 14">
            <a:extLst>
              <a:ext uri="{FF2B5EF4-FFF2-40B4-BE49-F238E27FC236}">
                <a16:creationId xmlns:a16="http://schemas.microsoft.com/office/drawing/2014/main" id="{779D0031-37F8-46B3-86B1-6854D88380ED}"/>
              </a:ext>
            </a:extLst>
          </p:cNvPr>
          <p:cNvSpPr>
            <a:spLocks noGrp="1"/>
          </p:cNvSpPr>
          <p:nvPr>
            <p:ph type="body" sz="quarter" idx="13"/>
          </p:nvPr>
        </p:nvSpPr>
        <p:spPr/>
        <p:txBody>
          <a:bodyPr/>
          <a:lstStyle/>
          <a:p>
            <a:r>
              <a:rPr lang="en-US" dirty="0"/>
              <a:t>Geodis collaborated with JEC for about 3 months and have seen early results in steady pipeline of candidates and more productive workforce in the facility</a:t>
            </a:r>
          </a:p>
        </p:txBody>
      </p:sp>
      <p:sp>
        <p:nvSpPr>
          <p:cNvPr id="19" name="Rectangle: Rounded Corners 18">
            <a:extLst>
              <a:ext uri="{FF2B5EF4-FFF2-40B4-BE49-F238E27FC236}">
                <a16:creationId xmlns:a16="http://schemas.microsoft.com/office/drawing/2014/main" id="{1874B6ED-09AF-4D57-AD0C-BCFF2B4AE06F}"/>
              </a:ext>
            </a:extLst>
          </p:cNvPr>
          <p:cNvSpPr/>
          <p:nvPr/>
        </p:nvSpPr>
        <p:spPr bwMode="auto">
          <a:xfrm>
            <a:off x="348233" y="1971700"/>
            <a:ext cx="2052675" cy="1512168"/>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Situation</a:t>
            </a:r>
          </a:p>
        </p:txBody>
      </p:sp>
      <p:sp>
        <p:nvSpPr>
          <p:cNvPr id="20" name="Rectangle: Rounded Corners 19">
            <a:extLst>
              <a:ext uri="{FF2B5EF4-FFF2-40B4-BE49-F238E27FC236}">
                <a16:creationId xmlns:a16="http://schemas.microsoft.com/office/drawing/2014/main" id="{3079FC1D-F4F4-46D9-BE7A-909A8E7A0D65}"/>
              </a:ext>
            </a:extLst>
          </p:cNvPr>
          <p:cNvSpPr/>
          <p:nvPr/>
        </p:nvSpPr>
        <p:spPr bwMode="auto">
          <a:xfrm>
            <a:off x="348233" y="3646965"/>
            <a:ext cx="2052675" cy="1512168"/>
          </a:xfrm>
          <a:prstGeom prst="roundRect">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indent="0" algn="ctr" defTabSz="86995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Early Results</a:t>
            </a:r>
          </a:p>
        </p:txBody>
      </p:sp>
      <p:sp>
        <p:nvSpPr>
          <p:cNvPr id="22" name="Rectangle: Rounded Corners 21">
            <a:extLst>
              <a:ext uri="{FF2B5EF4-FFF2-40B4-BE49-F238E27FC236}">
                <a16:creationId xmlns:a16="http://schemas.microsoft.com/office/drawing/2014/main" id="{9A494209-5D3B-41FC-A26F-43968161F7EF}"/>
              </a:ext>
            </a:extLst>
          </p:cNvPr>
          <p:cNvSpPr/>
          <p:nvPr/>
        </p:nvSpPr>
        <p:spPr bwMode="auto">
          <a:xfrm>
            <a:off x="2489688" y="1957202"/>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sz="1400" dirty="0"/>
              <a:t>Geodis is one of the key players in the global contract logistics market</a:t>
            </a:r>
          </a:p>
          <a:p>
            <a:pPr marL="285750" indent="-285750" defTabSz="502920">
              <a:buClr>
                <a:srgbClr val="0000FF"/>
              </a:buClr>
              <a:buFont typeface="Wingdings" panose="05000000000000000000" pitchFamily="2" charset="2"/>
              <a:buChar char="§"/>
            </a:pPr>
            <a:r>
              <a:rPr lang="en-US" sz="1400" dirty="0"/>
              <a:t>Working on their disability inclusion initiative for about 3 months </a:t>
            </a:r>
          </a:p>
          <a:p>
            <a:pPr marL="285750" indent="-285750" defTabSz="502920">
              <a:buClr>
                <a:srgbClr val="0000FF"/>
              </a:buClr>
              <a:buFont typeface="Wingdings" panose="05000000000000000000" pitchFamily="2" charset="2"/>
              <a:buChar char="§"/>
            </a:pPr>
            <a:r>
              <a:rPr lang="en-US" sz="1400" dirty="0"/>
              <a:t>started with central Indiana location, now opening their 2nd in Tennessee. </a:t>
            </a:r>
          </a:p>
          <a:p>
            <a:pPr marL="285750" indent="-285750" defTabSz="502920">
              <a:buClr>
                <a:srgbClr val="0000FF"/>
              </a:buClr>
              <a:buFont typeface="Wingdings" panose="05000000000000000000" pitchFamily="2" charset="2"/>
              <a:buChar char="§"/>
            </a:pPr>
            <a:r>
              <a:rPr lang="en-US" sz="1400" dirty="0"/>
              <a:t>JEC Embedded Specialist i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Building a pipeline of talent filling all types of operational roles and</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Supporting the managers to evolve into a more inclusive workforce</a:t>
            </a:r>
          </a:p>
        </p:txBody>
      </p:sp>
      <p:sp>
        <p:nvSpPr>
          <p:cNvPr id="23" name="Rectangle: Rounded Corners 22">
            <a:extLst>
              <a:ext uri="{FF2B5EF4-FFF2-40B4-BE49-F238E27FC236}">
                <a16:creationId xmlns:a16="http://schemas.microsoft.com/office/drawing/2014/main" id="{A62AF51A-36C5-4274-A3EB-C75201B57EFD}"/>
              </a:ext>
            </a:extLst>
          </p:cNvPr>
          <p:cNvSpPr/>
          <p:nvPr/>
        </p:nvSpPr>
        <p:spPr bwMode="auto">
          <a:xfrm>
            <a:off x="2479825" y="3632467"/>
            <a:ext cx="7265838" cy="1512168"/>
          </a:xfrm>
          <a:prstGeom prst="roundRect">
            <a:avLst/>
          </a:prstGeom>
          <a:no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285750" indent="-285750" defTabSz="502920">
              <a:buClr>
                <a:srgbClr val="0000FF"/>
              </a:buClr>
              <a:buFont typeface="Wingdings" panose="05000000000000000000" pitchFamily="2" charset="2"/>
              <a:buChar char="§"/>
            </a:pPr>
            <a:r>
              <a:rPr lang="en-US" altLang="en-US" sz="1400" dirty="0">
                <a:solidFill>
                  <a:schemeClr val="tx1"/>
                </a:solidFill>
              </a:rPr>
              <a:t>Steady stream of candidates</a:t>
            </a:r>
          </a:p>
          <a:p>
            <a:pPr marL="285750" indent="-285750" defTabSz="502920">
              <a:buClr>
                <a:srgbClr val="0000FF"/>
              </a:buClr>
              <a:buFont typeface="Wingdings" panose="05000000000000000000" pitchFamily="2" charset="2"/>
              <a:buChar char="§"/>
            </a:pPr>
            <a:r>
              <a:rPr lang="en-US" altLang="en-US" sz="1400" dirty="0">
                <a:solidFill>
                  <a:schemeClr val="tx1"/>
                </a:solidFill>
              </a:rPr>
              <a:t>Adapted hiring process to increase disability inclusion</a:t>
            </a:r>
          </a:p>
          <a:p>
            <a:pPr marL="285750" indent="-285750" defTabSz="502920">
              <a:buClr>
                <a:srgbClr val="0000FF"/>
              </a:buClr>
              <a:buFont typeface="Wingdings" panose="05000000000000000000" pitchFamily="2" charset="2"/>
              <a:buChar char="§"/>
            </a:pPr>
            <a:r>
              <a:rPr lang="en-US" altLang="en-US" sz="1400" dirty="0">
                <a:solidFill>
                  <a:schemeClr val="tx1"/>
                </a:solidFill>
              </a:rPr>
              <a:t>Site leaders report that the facility is more productive</a:t>
            </a:r>
          </a:p>
          <a:p>
            <a:pPr marL="285750" indent="-285750" defTabSz="502920">
              <a:buClr>
                <a:srgbClr val="0000FF"/>
              </a:buClr>
              <a:buFont typeface="Wingdings" panose="05000000000000000000" pitchFamily="2" charset="2"/>
              <a:buChar char="§"/>
            </a:pPr>
            <a:r>
              <a:rPr lang="en-US" altLang="en-US" sz="1400" dirty="0">
                <a:solidFill>
                  <a:schemeClr val="tx1"/>
                </a:solidFill>
              </a:rPr>
              <a:t>Plans for expansion continue </a:t>
            </a:r>
          </a:p>
          <a:p>
            <a:pPr marL="285750" indent="-285750" defTabSz="502920">
              <a:buClr>
                <a:srgbClr val="0000FF"/>
              </a:buClr>
              <a:buFont typeface="Wingdings" panose="05000000000000000000" pitchFamily="2" charset="2"/>
              <a:buChar char="§"/>
            </a:pPr>
            <a:endParaRPr lang="en-US" altLang="en-US" sz="1400" dirty="0">
              <a:solidFill>
                <a:schemeClr val="tx1"/>
              </a:solidFill>
            </a:endParaRPr>
          </a:p>
          <a:p>
            <a:pPr marL="285750" indent="-285750" defTabSz="502920">
              <a:buClr>
                <a:srgbClr val="0000FF"/>
              </a:buClr>
              <a:buFont typeface="Wingdings" panose="05000000000000000000" pitchFamily="2" charset="2"/>
              <a:buChar char="§"/>
            </a:pPr>
            <a:endParaRPr lang="en-US" altLang="en-US" sz="1400" dirty="0">
              <a:solidFill>
                <a:schemeClr val="tx1"/>
              </a:solidFill>
            </a:endParaRPr>
          </a:p>
        </p:txBody>
      </p:sp>
      <p:pic>
        <p:nvPicPr>
          <p:cNvPr id="17" name="Picture 16" descr="Logo, company name&#10;&#10;Description automatically generated">
            <a:extLst>
              <a:ext uri="{FF2B5EF4-FFF2-40B4-BE49-F238E27FC236}">
                <a16:creationId xmlns:a16="http://schemas.microsoft.com/office/drawing/2014/main" id="{152B4F09-9DF2-441F-AC21-55F383518B5B}"/>
              </a:ext>
            </a:extLst>
          </p:cNvPr>
          <p:cNvPicPr>
            <a:picLocks/>
          </p:cNvPicPr>
          <p:nvPr/>
        </p:nvPicPr>
        <p:blipFill rotWithShape="1">
          <a:blip r:embed="rId6"/>
          <a:srcRect l="13715" t="20135" r="11912" b="19473"/>
          <a:stretch/>
        </p:blipFill>
        <p:spPr>
          <a:xfrm>
            <a:off x="8281432" y="239479"/>
            <a:ext cx="1475309" cy="580830"/>
          </a:xfrm>
          <a:prstGeom prst="rect">
            <a:avLst/>
          </a:prstGeom>
        </p:spPr>
      </p:pic>
      <p:pic>
        <p:nvPicPr>
          <p:cNvPr id="16" name="Graphic 15" descr="Question mark with solid fill">
            <a:extLst>
              <a:ext uri="{FF2B5EF4-FFF2-40B4-BE49-F238E27FC236}">
                <a16:creationId xmlns:a16="http://schemas.microsoft.com/office/drawing/2014/main" id="{F63775CA-FF1C-4B8F-A2CE-56BC63CE4E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0975" y="2507540"/>
            <a:ext cx="640080" cy="640080"/>
          </a:xfrm>
          <a:prstGeom prst="rect">
            <a:avLst/>
          </a:prstGeom>
        </p:spPr>
      </p:pic>
      <p:pic>
        <p:nvPicPr>
          <p:cNvPr id="18" name="Graphic 17" descr="Person with idea with solid fill">
            <a:extLst>
              <a:ext uri="{FF2B5EF4-FFF2-40B4-BE49-F238E27FC236}">
                <a16:creationId xmlns:a16="http://schemas.microsoft.com/office/drawing/2014/main" id="{C5736D8A-497C-4652-BF06-1BFB512C11A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3815" y="4045645"/>
            <a:ext cx="914400" cy="914400"/>
          </a:xfrm>
          <a:prstGeom prst="rect">
            <a:avLst/>
          </a:prstGeom>
        </p:spPr>
      </p:pic>
    </p:spTree>
    <p:extLst>
      <p:ext uri="{BB962C8B-B14F-4D97-AF65-F5344CB8AC3E}">
        <p14:creationId xmlns:p14="http://schemas.microsoft.com/office/powerpoint/2010/main" val="2931402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70372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318A820-627D-4E05-8759-821B1413B654}"/>
              </a:ext>
            </a:extLst>
          </p:cNvPr>
          <p:cNvSpPr/>
          <p:nvPr/>
        </p:nvSpPr>
        <p:spPr bwMode="auto">
          <a:xfrm>
            <a:off x="276226" y="4961559"/>
            <a:ext cx="9469438" cy="576065"/>
          </a:xfrm>
          <a:prstGeom prst="rect">
            <a:avLst/>
          </a:prstGeom>
          <a:solidFill>
            <a:srgbClr val="00FF00"/>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9" name="Rectangle 3"/>
          <p:cNvSpPr txBox="1">
            <a:spLocks noChangeArrowheads="1"/>
          </p:cNvSpPr>
          <p:nvPr/>
        </p:nvSpPr>
        <p:spPr bwMode="black">
          <a:xfrm>
            <a:off x="1061032" y="2370063"/>
            <a:ext cx="7936336" cy="3385542"/>
          </a:xfrm>
          <a:prstGeom prst="rect">
            <a:avLst/>
          </a:prstGeom>
          <a:noFill/>
          <a:ln w="12700">
            <a:noFill/>
            <a:miter lim="800000"/>
            <a:headEnd/>
            <a:tailEnd/>
          </a:ln>
        </p:spPr>
        <p:txBody>
          <a:bodyPr vert="horz" wrap="square" lIns="0" tIns="0" rIns="0" bIns="0" numCol="1" anchor="t" anchorCtr="1" compatLnSpc="1">
            <a:prstTxWarp prst="textNoShape">
              <a:avLst/>
            </a:prstTxWarp>
            <a:spAutoFit/>
          </a:bodyPr>
          <a:lst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07988" indent="-1762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576263" indent="-165100"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712788" indent="-13493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827088" indent="10017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0" indent="0">
              <a:buNone/>
            </a:pPr>
            <a:endParaRPr lang="en-US" sz="2000" kern="0" dirty="0"/>
          </a:p>
          <a:p>
            <a:pPr>
              <a:buClr>
                <a:srgbClr val="0000FF"/>
              </a:buClr>
              <a:buFont typeface="Wingdings" panose="05000000000000000000" pitchFamily="2" charset="2"/>
              <a:buChar char="§"/>
            </a:pPr>
            <a:r>
              <a:rPr lang="en-US" sz="2000" kern="0" dirty="0"/>
              <a:t>Introduc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ject Framework</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active Resolu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ase Studies</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ustomer Portfolio</a:t>
            </a:r>
          </a:p>
          <a:p>
            <a:pPr marL="0" indent="0">
              <a:buNone/>
            </a:pPr>
            <a:endParaRPr lang="en-US" sz="2000" kern="0" dirty="0"/>
          </a:p>
        </p:txBody>
      </p:sp>
      <p:sp>
        <p:nvSpPr>
          <p:cNvPr id="6" name="Title 5">
            <a:extLst>
              <a:ext uri="{FF2B5EF4-FFF2-40B4-BE49-F238E27FC236}">
                <a16:creationId xmlns:a16="http://schemas.microsoft.com/office/drawing/2014/main" id="{B2CB34CC-D576-4B1A-9D37-90AFD89BF0B3}"/>
              </a:ext>
            </a:extLst>
          </p:cNvPr>
          <p:cNvSpPr>
            <a:spLocks noGrp="1"/>
          </p:cNvSpPr>
          <p:nvPr>
            <p:ph type="title"/>
          </p:nvPr>
        </p:nvSpPr>
        <p:spPr>
          <a:xfrm>
            <a:off x="306388" y="457200"/>
            <a:ext cx="9447212" cy="442913"/>
          </a:xfrm>
        </p:spPr>
        <p:txBody>
          <a:bodyPr vert="horz"/>
          <a:lstStyle/>
          <a:p>
            <a:r>
              <a:rPr lang="en-US" dirty="0"/>
              <a:t>Agenda</a:t>
            </a:r>
          </a:p>
        </p:txBody>
      </p:sp>
    </p:spTree>
    <p:extLst>
      <p:ext uri="{BB962C8B-B14F-4D97-AF65-F5344CB8AC3E}">
        <p14:creationId xmlns:p14="http://schemas.microsoft.com/office/powerpoint/2010/main" val="1637606683"/>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3B710DA-205C-48EF-B5F7-7F1417FAE7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93B710DA-205C-48EF-B5F7-7F1417FAE7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14F396E1-DE2A-4296-A231-C9FDB9338EDF}"/>
              </a:ext>
            </a:extLst>
          </p:cNvPr>
          <p:cNvSpPr>
            <a:spLocks noGrp="1"/>
          </p:cNvSpPr>
          <p:nvPr>
            <p:ph type="title"/>
          </p:nvPr>
        </p:nvSpPr>
        <p:spPr/>
        <p:txBody>
          <a:bodyPr vert="horz"/>
          <a:lstStyle/>
          <a:p>
            <a:r>
              <a:rPr lang="en-US" dirty="0"/>
              <a:t>Customer Portfolio: </a:t>
            </a:r>
            <a:r>
              <a:rPr lang="en-US" b="0" i="1" dirty="0"/>
              <a:t>Current Customers</a:t>
            </a:r>
          </a:p>
        </p:txBody>
      </p:sp>
      <p:sp>
        <p:nvSpPr>
          <p:cNvPr id="13" name="Text Placeholder 12">
            <a:extLst>
              <a:ext uri="{FF2B5EF4-FFF2-40B4-BE49-F238E27FC236}">
                <a16:creationId xmlns:a16="http://schemas.microsoft.com/office/drawing/2014/main" id="{47E41E21-959A-44F9-A0FE-789C1E40645C}"/>
              </a:ext>
            </a:extLst>
          </p:cNvPr>
          <p:cNvSpPr>
            <a:spLocks noGrp="1"/>
          </p:cNvSpPr>
          <p:nvPr>
            <p:ph type="body" sz="quarter" idx="11"/>
          </p:nvPr>
        </p:nvSpPr>
        <p:spPr/>
        <p:txBody>
          <a:bodyPr/>
          <a:lstStyle/>
          <a:p>
            <a:r>
              <a:rPr lang="id-ID" dirty="0"/>
              <a:t>www.jamesemmettandcompany.com</a:t>
            </a:r>
          </a:p>
        </p:txBody>
      </p:sp>
      <p:sp>
        <p:nvSpPr>
          <p:cNvPr id="14" name="Text Placeholder 13">
            <a:extLst>
              <a:ext uri="{FF2B5EF4-FFF2-40B4-BE49-F238E27FC236}">
                <a16:creationId xmlns:a16="http://schemas.microsoft.com/office/drawing/2014/main" id="{C907CE46-80FD-4C37-8F5E-08CDF8373819}"/>
              </a:ext>
            </a:extLst>
          </p:cNvPr>
          <p:cNvSpPr>
            <a:spLocks noGrp="1"/>
          </p:cNvSpPr>
          <p:nvPr>
            <p:ph type="body" sz="quarter" idx="13"/>
          </p:nvPr>
        </p:nvSpPr>
        <p:spPr/>
        <p:txBody>
          <a:bodyPr/>
          <a:lstStyle/>
          <a:p>
            <a:r>
              <a:rPr lang="en-US" dirty="0"/>
              <a:t>JEC’s current customers range from public to private companies in multiple industry verticals such as automotive, retail, logistics, and consumer products</a:t>
            </a:r>
          </a:p>
        </p:txBody>
      </p:sp>
      <p:sp>
        <p:nvSpPr>
          <p:cNvPr id="16" name="Text Placeholder 15">
            <a:extLst>
              <a:ext uri="{FF2B5EF4-FFF2-40B4-BE49-F238E27FC236}">
                <a16:creationId xmlns:a16="http://schemas.microsoft.com/office/drawing/2014/main" id="{651AD4BF-8E80-47C2-B410-1574D8A3A220}"/>
              </a:ext>
            </a:extLst>
          </p:cNvPr>
          <p:cNvSpPr>
            <a:spLocks noGrp="1"/>
          </p:cNvSpPr>
          <p:nvPr>
            <p:ph type="body" sz="quarter" idx="12"/>
          </p:nvPr>
        </p:nvSpPr>
        <p:spPr/>
        <p:txBody>
          <a:bodyPr/>
          <a:lstStyle/>
          <a:p>
            <a:r>
              <a:rPr lang="en-US" dirty="0"/>
              <a:t>Current JEC Customers</a:t>
            </a:r>
          </a:p>
        </p:txBody>
      </p:sp>
      <p:pic>
        <p:nvPicPr>
          <p:cNvPr id="21" name="Picture 20" descr="A picture containing drawing, stop&#10;&#10;Description automatically generated">
            <a:extLst>
              <a:ext uri="{FF2B5EF4-FFF2-40B4-BE49-F238E27FC236}">
                <a16:creationId xmlns:a16="http://schemas.microsoft.com/office/drawing/2014/main" id="{4ABE0FB0-28C4-43DD-9FBB-19F7F4F1C44C}"/>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2999861" y="2325709"/>
            <a:ext cx="2160000" cy="638913"/>
          </a:xfrm>
          <a:prstGeom prst="rect">
            <a:avLst/>
          </a:prstGeom>
        </p:spPr>
      </p:pic>
      <p:pic>
        <p:nvPicPr>
          <p:cNvPr id="22" name="Picture 21" descr="Logo, company name&#10;&#10;Description automatically generated">
            <a:extLst>
              <a:ext uri="{FF2B5EF4-FFF2-40B4-BE49-F238E27FC236}">
                <a16:creationId xmlns:a16="http://schemas.microsoft.com/office/drawing/2014/main" id="{B78C3C6F-7DD8-4588-8A1B-075126AE791D}"/>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2869200" y="4686783"/>
            <a:ext cx="2160000" cy="1344168"/>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552F5C4F-64AC-4982-B937-F1134E2F3CA1}"/>
              </a:ext>
            </a:extLst>
          </p:cNvPr>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384684" y="4686784"/>
            <a:ext cx="2304577" cy="1344167"/>
          </a:xfrm>
          <a:prstGeom prst="rect">
            <a:avLst/>
          </a:prstGeom>
        </p:spPr>
      </p:pic>
      <p:pic>
        <p:nvPicPr>
          <p:cNvPr id="24" name="Picture 23" descr="Logo, company name&#10;&#10;Description automatically generated">
            <a:extLst>
              <a:ext uri="{FF2B5EF4-FFF2-40B4-BE49-F238E27FC236}">
                <a16:creationId xmlns:a16="http://schemas.microsoft.com/office/drawing/2014/main" id="{88BCFEF5-4588-4791-9D10-36002A93B93D}"/>
              </a:ext>
            </a:extLst>
          </p:cNvPr>
          <p:cNvPicPr>
            <a:picLocks/>
          </p:cNvPicPr>
          <p:nvPr/>
        </p:nvPicPr>
        <p:blipFill rotWithShape="1">
          <a:blip r:embed="rId9"/>
          <a:srcRect l="13715" t="20135" r="11912" b="19473"/>
          <a:stretch/>
        </p:blipFill>
        <p:spPr>
          <a:xfrm>
            <a:off x="5507026" y="2219969"/>
            <a:ext cx="2160000" cy="850392"/>
          </a:xfrm>
          <a:prstGeom prst="rect">
            <a:avLst/>
          </a:prstGeom>
        </p:spPr>
      </p:pic>
      <p:pic>
        <p:nvPicPr>
          <p:cNvPr id="25" name="Picture 24" descr="Logo&#10;&#10;Description automatically generated">
            <a:extLst>
              <a:ext uri="{FF2B5EF4-FFF2-40B4-BE49-F238E27FC236}">
                <a16:creationId xmlns:a16="http://schemas.microsoft.com/office/drawing/2014/main" id="{FA697CDC-4133-49CB-A4EC-BB8915DA0D91}"/>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492696" y="2325709"/>
            <a:ext cx="2160000" cy="638913"/>
          </a:xfrm>
          <a:prstGeom prst="rect">
            <a:avLst/>
          </a:prstGeom>
        </p:spPr>
      </p:pic>
      <p:pic>
        <p:nvPicPr>
          <p:cNvPr id="26" name="Picture 25" descr="Logo&#10;&#10;Description automatically generated">
            <a:extLst>
              <a:ext uri="{FF2B5EF4-FFF2-40B4-BE49-F238E27FC236}">
                <a16:creationId xmlns:a16="http://schemas.microsoft.com/office/drawing/2014/main" id="{8342A764-3501-47A4-9127-15D36D37AECD}"/>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8014191" y="2166308"/>
            <a:ext cx="1413235" cy="957715"/>
          </a:xfrm>
          <a:prstGeom prst="rect">
            <a:avLst/>
          </a:prstGeom>
        </p:spPr>
      </p:pic>
      <p:sp>
        <p:nvSpPr>
          <p:cNvPr id="27" name="TextBox 26">
            <a:extLst>
              <a:ext uri="{FF2B5EF4-FFF2-40B4-BE49-F238E27FC236}">
                <a16:creationId xmlns:a16="http://schemas.microsoft.com/office/drawing/2014/main" id="{2A499EB8-B881-47DD-9886-753E557AF652}"/>
              </a:ext>
            </a:extLst>
          </p:cNvPr>
          <p:cNvSpPr txBox="1"/>
          <p:nvPr/>
        </p:nvSpPr>
        <p:spPr>
          <a:xfrm>
            <a:off x="0" y="6286500"/>
            <a:ext cx="10058400" cy="683260"/>
          </a:xfrm>
          <a:prstGeom prst="rect">
            <a:avLst/>
          </a:prstGeom>
          <a:solidFill>
            <a:srgbClr val="3E3E6D"/>
          </a:solidFill>
          <a:ln w="6350" cap="flat">
            <a:noFill/>
            <a:miter lim="800000"/>
          </a:ln>
        </p:spPr>
        <p:txBody>
          <a:bodyPr vert="horz" wrap="square" lIns="252476" tIns="76200" rIns="252476" bIns="76200" rtlCol="0" anchor="ctr" anchorCtr="0">
            <a:noAutofit/>
          </a:bodyPr>
          <a:lstStyle/>
          <a:p>
            <a:pPr algn="ctr">
              <a:lnSpc>
                <a:spcPct val="90000"/>
              </a:lnSpc>
              <a:buClr>
                <a:schemeClr val="bg2"/>
              </a:buClr>
            </a:pPr>
            <a:r>
              <a:rPr lang="en-US" b="1" dirty="0">
                <a:solidFill>
                  <a:schemeClr val="bg1"/>
                </a:solidFill>
                <a:latin typeface="Arial" panose="020B0604020202020204" pitchFamily="34" charset="0"/>
                <a:cs typeface="Arial" panose="020B0604020202020204" pitchFamily="34" charset="0"/>
              </a:rPr>
              <a:t>“Employing people with disabilities is good for business”</a:t>
            </a:r>
          </a:p>
        </p:txBody>
      </p:sp>
      <p:sp>
        <p:nvSpPr>
          <p:cNvPr id="31" name="Rectangle 30">
            <a:extLst>
              <a:ext uri="{FF2B5EF4-FFF2-40B4-BE49-F238E27FC236}">
                <a16:creationId xmlns:a16="http://schemas.microsoft.com/office/drawing/2014/main" id="{97EF9D5C-F190-4513-AC75-0886049EF1F6}"/>
              </a:ext>
            </a:extLst>
          </p:cNvPr>
          <p:cNvSpPr/>
          <p:nvPr/>
        </p:nvSpPr>
        <p:spPr>
          <a:xfrm>
            <a:off x="290719" y="2007704"/>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D8C8B3-FCF1-5F48-8720-85E155844E9A}"/>
              </a:ext>
            </a:extLst>
          </p:cNvPr>
          <p:cNvSpPr/>
          <p:nvPr/>
        </p:nvSpPr>
        <p:spPr bwMode="auto">
          <a:xfrm>
            <a:off x="6793396" y="3348341"/>
            <a:ext cx="2874655" cy="2836089"/>
          </a:xfrm>
          <a:prstGeom prst="rect">
            <a:avLst/>
          </a:prstGeom>
          <a:solidFill>
            <a:srgbClr val="D9D9D9"/>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pic>
        <p:nvPicPr>
          <p:cNvPr id="7" name="Picture 6" descr="A picture containing text, sign&#10;&#10;Description automatically generated">
            <a:extLst>
              <a:ext uri="{FF2B5EF4-FFF2-40B4-BE49-F238E27FC236}">
                <a16:creationId xmlns:a16="http://schemas.microsoft.com/office/drawing/2014/main" id="{A601D8CD-166B-D643-9C45-BFB1918E46A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65243" y="5454568"/>
            <a:ext cx="2730961" cy="576383"/>
          </a:xfrm>
          <a:prstGeom prst="rect">
            <a:avLst/>
          </a:prstGeom>
        </p:spPr>
      </p:pic>
      <p:pic>
        <p:nvPicPr>
          <p:cNvPr id="9" name="Picture 8" descr="A picture containing diagram&#10;&#10;Description automatically generated">
            <a:extLst>
              <a:ext uri="{FF2B5EF4-FFF2-40B4-BE49-F238E27FC236}">
                <a16:creationId xmlns:a16="http://schemas.microsoft.com/office/drawing/2014/main" id="{13723BF9-DA21-EF4A-B619-30670C301B5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76264" y="4108921"/>
            <a:ext cx="2508919" cy="1196839"/>
          </a:xfrm>
          <a:prstGeom prst="rect">
            <a:avLst/>
          </a:prstGeom>
          <a:ln>
            <a:noFill/>
          </a:ln>
        </p:spPr>
      </p:pic>
      <p:sp>
        <p:nvSpPr>
          <p:cNvPr id="15" name="TextBox 14">
            <a:extLst>
              <a:ext uri="{FF2B5EF4-FFF2-40B4-BE49-F238E27FC236}">
                <a16:creationId xmlns:a16="http://schemas.microsoft.com/office/drawing/2014/main" id="{06AE0A4F-ABEF-144B-904D-5AF316BA59C4}"/>
              </a:ext>
            </a:extLst>
          </p:cNvPr>
          <p:cNvSpPr txBox="1"/>
          <p:nvPr/>
        </p:nvSpPr>
        <p:spPr>
          <a:xfrm>
            <a:off x="6966512" y="3552656"/>
            <a:ext cx="2528423" cy="369332"/>
          </a:xfrm>
          <a:prstGeom prst="rect">
            <a:avLst/>
          </a:prstGeom>
          <a:solidFill>
            <a:srgbClr val="0003EF"/>
          </a:solidFill>
        </p:spPr>
        <p:txBody>
          <a:bodyPr wrap="square" rtlCol="0">
            <a:spAutoFit/>
          </a:bodyPr>
          <a:lstStyle/>
          <a:p>
            <a:pPr algn="ctr"/>
            <a:r>
              <a:rPr lang="en-US" dirty="0">
                <a:solidFill>
                  <a:schemeClr val="bg1"/>
                </a:solidFill>
              </a:rPr>
              <a:t>JEC Cohort Projects</a:t>
            </a:r>
          </a:p>
        </p:txBody>
      </p:sp>
      <p:pic>
        <p:nvPicPr>
          <p:cNvPr id="18" name="Picture 17" descr="Text&#10;&#10;Description automatically generated">
            <a:extLst>
              <a:ext uri="{FF2B5EF4-FFF2-40B4-BE49-F238E27FC236}">
                <a16:creationId xmlns:a16="http://schemas.microsoft.com/office/drawing/2014/main" id="{968AEFA8-F3F8-6542-A241-F3512156F87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70795" y="4686783"/>
            <a:ext cx="1478585" cy="1344168"/>
          </a:xfrm>
          <a:prstGeom prst="rect">
            <a:avLst/>
          </a:prstGeom>
        </p:spPr>
      </p:pic>
      <p:pic>
        <p:nvPicPr>
          <p:cNvPr id="28" name="Picture 27" descr="Text, letter&#10;&#10;Description automatically generated">
            <a:extLst>
              <a:ext uri="{FF2B5EF4-FFF2-40B4-BE49-F238E27FC236}">
                <a16:creationId xmlns:a16="http://schemas.microsoft.com/office/drawing/2014/main" id="{B885214E-FB54-4210-82C6-6884ACAC16B0}"/>
              </a:ext>
            </a:extLst>
          </p:cNvPr>
          <p:cNvPicPr>
            <a:picLocks noChangeAspect="1"/>
          </p:cNvPicPr>
          <p:nvPr/>
        </p:nvPicPr>
        <p:blipFill rotWithShape="1">
          <a:blip r:embed="rId15">
            <a:extLst>
              <a:ext uri="{28A0092B-C50C-407E-A947-70E740481C1C}">
                <a14:useLocalDpi xmlns:a14="http://schemas.microsoft.com/office/drawing/2010/main" val="0"/>
              </a:ext>
            </a:extLst>
          </a:blip>
          <a:srcRect t="33884" b="28497"/>
          <a:stretch/>
        </p:blipFill>
        <p:spPr>
          <a:xfrm>
            <a:off x="3729303" y="3350780"/>
            <a:ext cx="2304578" cy="866948"/>
          </a:xfrm>
          <a:prstGeom prst="rect">
            <a:avLst/>
          </a:prstGeom>
        </p:spPr>
      </p:pic>
      <p:pic>
        <p:nvPicPr>
          <p:cNvPr id="29" name="Picture 28" descr="Logo, company name&#10;&#10;Description automatically generated">
            <a:extLst>
              <a:ext uri="{FF2B5EF4-FFF2-40B4-BE49-F238E27FC236}">
                <a16:creationId xmlns:a16="http://schemas.microsoft.com/office/drawing/2014/main" id="{D2051BC0-6C17-48AD-B787-FFBB558C5C6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3946" y="3504852"/>
            <a:ext cx="2304578" cy="559991"/>
          </a:xfrm>
          <a:prstGeom prst="rect">
            <a:avLst/>
          </a:prstGeom>
        </p:spPr>
      </p:pic>
    </p:spTree>
    <p:extLst>
      <p:ext uri="{BB962C8B-B14F-4D97-AF65-F5344CB8AC3E}">
        <p14:creationId xmlns:p14="http://schemas.microsoft.com/office/powerpoint/2010/main" val="954174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3B710DA-205C-48EF-B5F7-7F1417FAE76B}"/>
              </a:ext>
            </a:extLst>
          </p:cNvPr>
          <p:cNvGraphicFramePr>
            <a:graphicFrameLocks noChangeAspect="1"/>
          </p:cNvGraphicFramePr>
          <p:nvPr>
            <p:custDataLst>
              <p:tags r:id="rId2"/>
            </p:custDataLst>
            <p:extLst>
              <p:ext uri="{D42A27DB-BD31-4B8C-83A1-F6EECF244321}">
                <p14:modId xmlns:p14="http://schemas.microsoft.com/office/powerpoint/2010/main" val="3898382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93B710DA-205C-48EF-B5F7-7F1417FAE7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14F396E1-DE2A-4296-A231-C9FDB9338EDF}"/>
              </a:ext>
            </a:extLst>
          </p:cNvPr>
          <p:cNvSpPr>
            <a:spLocks noGrp="1"/>
          </p:cNvSpPr>
          <p:nvPr>
            <p:ph type="title"/>
          </p:nvPr>
        </p:nvSpPr>
        <p:spPr/>
        <p:txBody>
          <a:bodyPr vert="horz"/>
          <a:lstStyle/>
          <a:p>
            <a:r>
              <a:rPr lang="en-US" dirty="0"/>
              <a:t>Customer Portfolio: </a:t>
            </a:r>
            <a:r>
              <a:rPr lang="en-US" b="0" i="1" dirty="0"/>
              <a:t>Serving Many Iconic Brands Over the Years</a:t>
            </a:r>
          </a:p>
        </p:txBody>
      </p:sp>
      <p:sp>
        <p:nvSpPr>
          <p:cNvPr id="13" name="Text Placeholder 12">
            <a:extLst>
              <a:ext uri="{FF2B5EF4-FFF2-40B4-BE49-F238E27FC236}">
                <a16:creationId xmlns:a16="http://schemas.microsoft.com/office/drawing/2014/main" id="{47E41E21-959A-44F9-A0FE-789C1E40645C}"/>
              </a:ext>
            </a:extLst>
          </p:cNvPr>
          <p:cNvSpPr>
            <a:spLocks noGrp="1"/>
          </p:cNvSpPr>
          <p:nvPr>
            <p:ph type="body" sz="quarter" idx="11"/>
          </p:nvPr>
        </p:nvSpPr>
        <p:spPr/>
        <p:txBody>
          <a:bodyPr/>
          <a:lstStyle/>
          <a:p>
            <a:r>
              <a:rPr lang="id-ID" dirty="0"/>
              <a:t>www.jamesemmettandcompany.com</a:t>
            </a:r>
          </a:p>
        </p:txBody>
      </p:sp>
      <p:sp>
        <p:nvSpPr>
          <p:cNvPr id="14" name="Text Placeholder 13">
            <a:extLst>
              <a:ext uri="{FF2B5EF4-FFF2-40B4-BE49-F238E27FC236}">
                <a16:creationId xmlns:a16="http://schemas.microsoft.com/office/drawing/2014/main" id="{C907CE46-80FD-4C37-8F5E-08CDF8373819}"/>
              </a:ext>
            </a:extLst>
          </p:cNvPr>
          <p:cNvSpPr>
            <a:spLocks noGrp="1"/>
          </p:cNvSpPr>
          <p:nvPr>
            <p:ph type="body" sz="quarter" idx="13"/>
          </p:nvPr>
        </p:nvSpPr>
        <p:spPr/>
        <p:txBody>
          <a:bodyPr/>
          <a:lstStyle/>
          <a:p>
            <a:r>
              <a:rPr lang="en-US" dirty="0"/>
              <a:t>JEC has also been serving many iconic brands throughout the years, which is a strong testament of our services and commitment to our clients</a:t>
            </a:r>
          </a:p>
        </p:txBody>
      </p:sp>
      <p:sp>
        <p:nvSpPr>
          <p:cNvPr id="16" name="Text Placeholder 15">
            <a:extLst>
              <a:ext uri="{FF2B5EF4-FFF2-40B4-BE49-F238E27FC236}">
                <a16:creationId xmlns:a16="http://schemas.microsoft.com/office/drawing/2014/main" id="{651AD4BF-8E80-47C2-B410-1574D8A3A220}"/>
              </a:ext>
            </a:extLst>
          </p:cNvPr>
          <p:cNvSpPr>
            <a:spLocks noGrp="1"/>
          </p:cNvSpPr>
          <p:nvPr>
            <p:ph type="body" sz="quarter" idx="12"/>
          </p:nvPr>
        </p:nvSpPr>
        <p:spPr/>
        <p:txBody>
          <a:bodyPr/>
          <a:lstStyle/>
          <a:p>
            <a:r>
              <a:rPr lang="en-US" dirty="0"/>
              <a:t>Past Customers</a:t>
            </a:r>
          </a:p>
        </p:txBody>
      </p:sp>
      <p:sp>
        <p:nvSpPr>
          <p:cNvPr id="27" name="TextBox 26">
            <a:extLst>
              <a:ext uri="{FF2B5EF4-FFF2-40B4-BE49-F238E27FC236}">
                <a16:creationId xmlns:a16="http://schemas.microsoft.com/office/drawing/2014/main" id="{2A499EB8-B881-47DD-9886-753E557AF652}"/>
              </a:ext>
            </a:extLst>
          </p:cNvPr>
          <p:cNvSpPr txBox="1"/>
          <p:nvPr/>
        </p:nvSpPr>
        <p:spPr>
          <a:xfrm>
            <a:off x="0" y="6286500"/>
            <a:ext cx="10058400" cy="683260"/>
          </a:xfrm>
          <a:prstGeom prst="rect">
            <a:avLst/>
          </a:prstGeom>
          <a:solidFill>
            <a:srgbClr val="3E3E6D"/>
          </a:solidFill>
          <a:ln w="6350" cap="flat">
            <a:noFill/>
            <a:miter lim="800000"/>
          </a:ln>
        </p:spPr>
        <p:txBody>
          <a:bodyPr vert="horz" wrap="square" lIns="252476" tIns="76200" rIns="252476" bIns="76200" rtlCol="0" anchor="ctr" anchorCtr="0">
            <a:noAutofit/>
          </a:bodyPr>
          <a:lstStyle/>
          <a:p>
            <a:pPr algn="ctr">
              <a:lnSpc>
                <a:spcPct val="90000"/>
              </a:lnSpc>
              <a:buClr>
                <a:schemeClr val="bg2"/>
              </a:buClr>
            </a:pPr>
            <a:r>
              <a:rPr lang="en-US" b="1" dirty="0">
                <a:solidFill>
                  <a:schemeClr val="bg1"/>
                </a:solidFill>
                <a:latin typeface="Arial" panose="020B0604020202020204" pitchFamily="34" charset="0"/>
                <a:cs typeface="Arial" panose="020B0604020202020204" pitchFamily="34" charset="0"/>
              </a:rPr>
              <a:t>“Employing people with disabilities is good for business”</a:t>
            </a:r>
          </a:p>
        </p:txBody>
      </p:sp>
      <p:sp>
        <p:nvSpPr>
          <p:cNvPr id="31" name="Rectangle 30">
            <a:extLst>
              <a:ext uri="{FF2B5EF4-FFF2-40B4-BE49-F238E27FC236}">
                <a16:creationId xmlns:a16="http://schemas.microsoft.com/office/drawing/2014/main" id="{97EF9D5C-F190-4513-AC75-0886049EF1F6}"/>
              </a:ext>
            </a:extLst>
          </p:cNvPr>
          <p:cNvSpPr/>
          <p:nvPr/>
        </p:nvSpPr>
        <p:spPr>
          <a:xfrm>
            <a:off x="290719" y="2007704"/>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Screen Shot 2015-10-25 at 1.14.31 PM.png">
            <a:extLst>
              <a:ext uri="{FF2B5EF4-FFF2-40B4-BE49-F238E27FC236}">
                <a16:creationId xmlns:a16="http://schemas.microsoft.com/office/drawing/2014/main" id="{1BF91A76-1A1E-4A8A-9AD7-8CD5083A0B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19102" y="2223728"/>
            <a:ext cx="2088000" cy="659553"/>
          </a:xfrm>
          <a:prstGeom prst="rect">
            <a:avLst/>
          </a:prstGeom>
        </p:spPr>
      </p:pic>
      <p:pic>
        <p:nvPicPr>
          <p:cNvPr id="28" name="Picture 27">
            <a:extLst>
              <a:ext uri="{FF2B5EF4-FFF2-40B4-BE49-F238E27FC236}">
                <a16:creationId xmlns:a16="http://schemas.microsoft.com/office/drawing/2014/main" id="{3DE4A067-0091-4ACE-BD73-0C2969A6DFFE}"/>
              </a:ext>
            </a:extLst>
          </p:cNvPr>
          <p:cNvPicPr>
            <a:picLocks noChangeAspect="1"/>
          </p:cNvPicPr>
          <p:nvPr/>
        </p:nvPicPr>
        <p:blipFill>
          <a:blip r:embed="rId7"/>
          <a:stretch>
            <a:fillRect/>
          </a:stretch>
        </p:blipFill>
        <p:spPr>
          <a:xfrm>
            <a:off x="7909648" y="4585234"/>
            <a:ext cx="1298272" cy="1289674"/>
          </a:xfrm>
          <a:prstGeom prst="rect">
            <a:avLst/>
          </a:prstGeom>
        </p:spPr>
      </p:pic>
      <p:pic>
        <p:nvPicPr>
          <p:cNvPr id="29" name="Picture 28">
            <a:extLst>
              <a:ext uri="{FF2B5EF4-FFF2-40B4-BE49-F238E27FC236}">
                <a16:creationId xmlns:a16="http://schemas.microsoft.com/office/drawing/2014/main" id="{CA179946-9A12-44D0-A5E2-0FB0B928C1ED}"/>
              </a:ext>
            </a:extLst>
          </p:cNvPr>
          <p:cNvPicPr>
            <a:picLocks noChangeAspect="1"/>
          </p:cNvPicPr>
          <p:nvPr/>
        </p:nvPicPr>
        <p:blipFill>
          <a:blip r:embed="rId8"/>
          <a:stretch>
            <a:fillRect/>
          </a:stretch>
        </p:blipFill>
        <p:spPr>
          <a:xfrm>
            <a:off x="4532685" y="4606729"/>
            <a:ext cx="1298272" cy="1246685"/>
          </a:xfrm>
          <a:prstGeom prst="rect">
            <a:avLst/>
          </a:prstGeom>
        </p:spPr>
      </p:pic>
      <p:pic>
        <p:nvPicPr>
          <p:cNvPr id="30" name="Picture 29">
            <a:extLst>
              <a:ext uri="{FF2B5EF4-FFF2-40B4-BE49-F238E27FC236}">
                <a16:creationId xmlns:a16="http://schemas.microsoft.com/office/drawing/2014/main" id="{7C810B8E-6D0D-46C2-839A-E756CC33FD48}"/>
              </a:ext>
            </a:extLst>
          </p:cNvPr>
          <p:cNvPicPr>
            <a:picLocks noChangeAspect="1"/>
          </p:cNvPicPr>
          <p:nvPr/>
        </p:nvPicPr>
        <p:blipFill>
          <a:blip r:embed="rId9"/>
          <a:stretch>
            <a:fillRect/>
          </a:stretch>
        </p:blipFill>
        <p:spPr>
          <a:xfrm>
            <a:off x="858200" y="3499295"/>
            <a:ext cx="1893314" cy="491161"/>
          </a:xfrm>
          <a:prstGeom prst="rect">
            <a:avLst/>
          </a:prstGeom>
        </p:spPr>
      </p:pic>
      <p:pic>
        <p:nvPicPr>
          <p:cNvPr id="32" name="Picture 31">
            <a:extLst>
              <a:ext uri="{FF2B5EF4-FFF2-40B4-BE49-F238E27FC236}">
                <a16:creationId xmlns:a16="http://schemas.microsoft.com/office/drawing/2014/main" id="{CDCC847A-7058-435B-9010-A5168756B7A4}"/>
              </a:ext>
            </a:extLst>
          </p:cNvPr>
          <p:cNvPicPr>
            <a:picLocks noChangeAspect="1"/>
          </p:cNvPicPr>
          <p:nvPr/>
        </p:nvPicPr>
        <p:blipFill>
          <a:blip r:embed="rId10"/>
          <a:stretch>
            <a:fillRect/>
          </a:stretch>
        </p:blipFill>
        <p:spPr>
          <a:xfrm>
            <a:off x="4053980" y="2263941"/>
            <a:ext cx="2160000" cy="579127"/>
          </a:xfrm>
          <a:prstGeom prst="rect">
            <a:avLst/>
          </a:prstGeom>
        </p:spPr>
      </p:pic>
      <p:pic>
        <p:nvPicPr>
          <p:cNvPr id="33" name="Picture 32">
            <a:extLst>
              <a:ext uri="{FF2B5EF4-FFF2-40B4-BE49-F238E27FC236}">
                <a16:creationId xmlns:a16="http://schemas.microsoft.com/office/drawing/2014/main" id="{588B7851-E972-451E-8DB5-9BE763EB2CD6}"/>
              </a:ext>
            </a:extLst>
          </p:cNvPr>
          <p:cNvPicPr>
            <a:picLocks noChangeAspect="1"/>
          </p:cNvPicPr>
          <p:nvPr/>
        </p:nvPicPr>
        <p:blipFill>
          <a:blip r:embed="rId11"/>
          <a:stretch>
            <a:fillRect/>
          </a:stretch>
        </p:blipFill>
        <p:spPr>
          <a:xfrm>
            <a:off x="7678730" y="3231840"/>
            <a:ext cx="1568745" cy="1026070"/>
          </a:xfrm>
          <a:prstGeom prst="rect">
            <a:avLst/>
          </a:prstGeom>
        </p:spPr>
      </p:pic>
      <p:pic>
        <p:nvPicPr>
          <p:cNvPr id="34" name="Content Placeholder 4">
            <a:extLst>
              <a:ext uri="{FF2B5EF4-FFF2-40B4-BE49-F238E27FC236}">
                <a16:creationId xmlns:a16="http://schemas.microsoft.com/office/drawing/2014/main" id="{7405EF13-4774-404F-A0BB-BEEA83485288}"/>
              </a:ext>
            </a:extLst>
          </p:cNvPr>
          <p:cNvPicPr>
            <a:picLocks noChangeAspect="1"/>
          </p:cNvPicPr>
          <p:nvPr/>
        </p:nvPicPr>
        <p:blipFill>
          <a:blip r:embed="rId12"/>
          <a:stretch>
            <a:fillRect/>
          </a:stretch>
        </p:blipFill>
        <p:spPr>
          <a:xfrm>
            <a:off x="760857" y="2245524"/>
            <a:ext cx="2088000" cy="615960"/>
          </a:xfrm>
          <a:prstGeom prst="rect">
            <a:avLst/>
          </a:prstGeom>
        </p:spPr>
      </p:pic>
      <p:pic>
        <p:nvPicPr>
          <p:cNvPr id="35" name="Picture 34" descr="A picture containing text, sign&#10;&#10;Description automatically generated">
            <a:extLst>
              <a:ext uri="{FF2B5EF4-FFF2-40B4-BE49-F238E27FC236}">
                <a16:creationId xmlns:a16="http://schemas.microsoft.com/office/drawing/2014/main" id="{EEE626C6-0B56-4C23-8BDC-EDB4C7CBD10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457608" y="3401712"/>
            <a:ext cx="1568745" cy="686326"/>
          </a:xfrm>
          <a:prstGeom prst="rect">
            <a:avLst/>
          </a:prstGeom>
        </p:spPr>
      </p:pic>
      <p:pic>
        <p:nvPicPr>
          <p:cNvPr id="36" name="Picture 35" descr="Logo&#10;&#10;Description automatically generated">
            <a:extLst>
              <a:ext uri="{FF2B5EF4-FFF2-40B4-BE49-F238E27FC236}">
                <a16:creationId xmlns:a16="http://schemas.microsoft.com/office/drawing/2014/main" id="{ECA45BB4-922A-4A64-A64E-CC9EDB8417A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55721" y="4455976"/>
            <a:ext cx="1298272" cy="1548190"/>
          </a:xfrm>
          <a:prstGeom prst="rect">
            <a:avLst/>
          </a:prstGeom>
        </p:spPr>
      </p:pic>
    </p:spTree>
    <p:extLst>
      <p:ext uri="{BB962C8B-B14F-4D97-AF65-F5344CB8AC3E}">
        <p14:creationId xmlns:p14="http://schemas.microsoft.com/office/powerpoint/2010/main" val="3113254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E3B4FF-7234-4BA8-8E18-2A647A30C55C}"/>
              </a:ext>
            </a:extLst>
          </p:cNvPr>
          <p:cNvGraphicFramePr>
            <a:graphicFrameLocks noChangeAspect="1"/>
          </p:cNvGraphicFramePr>
          <p:nvPr>
            <p:custDataLst>
              <p:tags r:id="rId2"/>
            </p:custDataLst>
            <p:extLst>
              <p:ext uri="{D42A27DB-BD31-4B8C-83A1-F6EECF244321}">
                <p14:modId xmlns:p14="http://schemas.microsoft.com/office/powerpoint/2010/main" val="63103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B0E3B4FF-7234-4BA8-8E18-2A647A30C5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2A0544-A3FA-423C-8E88-6505F0A0C944}"/>
              </a:ext>
            </a:extLst>
          </p:cNvPr>
          <p:cNvSpPr>
            <a:spLocks noGrp="1"/>
          </p:cNvSpPr>
          <p:nvPr>
            <p:ph type="title"/>
          </p:nvPr>
        </p:nvSpPr>
        <p:spPr/>
        <p:txBody>
          <a:bodyPr vert="horz"/>
          <a:lstStyle/>
          <a:p>
            <a:r>
              <a:rPr lang="en-US" dirty="0"/>
              <a:t>Contact Us!</a:t>
            </a:r>
            <a:endParaRPr lang="id-ID" dirty="0"/>
          </a:p>
        </p:txBody>
      </p:sp>
      <p:sp>
        <p:nvSpPr>
          <p:cNvPr id="3" name="Text Placeholder 2">
            <a:extLst>
              <a:ext uri="{FF2B5EF4-FFF2-40B4-BE49-F238E27FC236}">
                <a16:creationId xmlns:a16="http://schemas.microsoft.com/office/drawing/2014/main" id="{A6EAE28A-78C9-42CF-997B-DA76B7A519E0}"/>
              </a:ext>
            </a:extLst>
          </p:cNvPr>
          <p:cNvSpPr>
            <a:spLocks noGrp="1"/>
          </p:cNvSpPr>
          <p:nvPr>
            <p:ph type="body" sz="quarter" idx="11"/>
          </p:nvPr>
        </p:nvSpPr>
        <p:spPr/>
        <p:txBody>
          <a:bodyPr/>
          <a:lstStyle/>
          <a:p>
            <a:endParaRPr lang="id-ID"/>
          </a:p>
        </p:txBody>
      </p:sp>
      <p:grpSp>
        <p:nvGrpSpPr>
          <p:cNvPr id="7" name="Group 6">
            <a:extLst>
              <a:ext uri="{FF2B5EF4-FFF2-40B4-BE49-F238E27FC236}">
                <a16:creationId xmlns:a16="http://schemas.microsoft.com/office/drawing/2014/main" id="{99564150-51F7-4685-AF9A-D1C763BB684E}"/>
              </a:ext>
            </a:extLst>
          </p:cNvPr>
          <p:cNvGrpSpPr/>
          <p:nvPr/>
        </p:nvGrpSpPr>
        <p:grpSpPr>
          <a:xfrm>
            <a:off x="408076" y="2073478"/>
            <a:ext cx="3367717" cy="2308733"/>
            <a:chOff x="758734" y="1482912"/>
            <a:chExt cx="3367717" cy="2308733"/>
          </a:xfrm>
        </p:grpSpPr>
        <p:pic>
          <p:nvPicPr>
            <p:cNvPr id="8" name="Picture 7" descr="Headshot of James Emmett">
              <a:extLst>
                <a:ext uri="{FF2B5EF4-FFF2-40B4-BE49-F238E27FC236}">
                  <a16:creationId xmlns:a16="http://schemas.microsoft.com/office/drawing/2014/main" id="{52F387BB-A101-4715-B209-63F63238FAE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529" b="11242"/>
            <a:stretch/>
          </p:blipFill>
          <p:spPr bwMode="auto">
            <a:xfrm>
              <a:off x="1715384" y="1482912"/>
              <a:ext cx="1440000" cy="1440000"/>
            </a:xfrm>
            <a:prstGeom prst="ellipse">
              <a:avLst/>
            </a:prstGeom>
            <a:noFill/>
            <a:extLst>
              <a:ext uri="{909E8E84-426E-40DD-AFC4-6F175D3DCCD1}">
                <a14:hiddenFill xmlns:a14="http://schemas.microsoft.com/office/drawing/2010/main">
                  <a:solidFill>
                    <a:srgbClr val="FFFFFF"/>
                  </a:solidFill>
                </a14:hiddenFill>
              </a:ext>
            </a:extLst>
          </p:spPr>
        </p:pic>
        <p:sp>
          <p:nvSpPr>
            <p:cNvPr id="9" name="Rectangle 3">
              <a:extLst>
                <a:ext uri="{FF2B5EF4-FFF2-40B4-BE49-F238E27FC236}">
                  <a16:creationId xmlns:a16="http://schemas.microsoft.com/office/drawing/2014/main" id="{705C4FF5-1F71-45A5-85BF-9A444732F3A6}"/>
                </a:ext>
              </a:extLst>
            </p:cNvPr>
            <p:cNvSpPr txBox="1">
              <a:spLocks noChangeArrowheads="1"/>
            </p:cNvSpPr>
            <p:nvPr/>
          </p:nvSpPr>
          <p:spPr>
            <a:xfrm>
              <a:off x="1470484" y="2925092"/>
              <a:ext cx="1944216" cy="558776"/>
            </a:xfrm>
            <a:prstGeom prst="rect">
              <a:avLst/>
            </a:prstGeom>
          </p:spPr>
          <p:txBody>
            <a:bodyPr vert="horz" lIns="90000" tIns="45720" rIns="91440" bIns="4572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ts val="0"/>
                </a:spcBef>
                <a:spcAft>
                  <a:spcPts val="600"/>
                </a:spcAft>
                <a:buClr>
                  <a:schemeClr val="bg1"/>
                </a:buClr>
                <a:buSzPct val="150000"/>
                <a:buNone/>
                <a:defRPr/>
              </a:pPr>
              <a:r>
                <a:rPr lang="en-US" sz="1800" b="1" dirty="0">
                  <a:solidFill>
                    <a:srgbClr val="0003EF"/>
                  </a:solidFill>
                  <a:latin typeface="Arial" panose="020B0604020202020204" pitchFamily="34" charset="0"/>
                  <a:cs typeface="Arial" panose="020B0604020202020204" pitchFamily="34" charset="0"/>
                </a:rPr>
                <a:t>James Emmett</a:t>
              </a:r>
              <a:endParaRPr kumimoji="0" lang="en-US" sz="1800" b="1" i="0" u="none" strike="noStrike" kern="1200" cap="none" spc="0" normalizeH="0" baseline="0" noProof="0" dirty="0">
                <a:ln>
                  <a:noFill/>
                </a:ln>
                <a:solidFill>
                  <a:srgbClr val="0003EF"/>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1833907-510F-44A7-B93A-07A103F344BE}"/>
                </a:ext>
              </a:extLst>
            </p:cNvPr>
            <p:cNvSpPr/>
            <p:nvPr/>
          </p:nvSpPr>
          <p:spPr>
            <a:xfrm>
              <a:off x="758734" y="3483868"/>
              <a:ext cx="3367717" cy="307777"/>
            </a:xfrm>
            <a:prstGeom prst="rect">
              <a:avLst/>
            </a:prstGeom>
          </p:spPr>
          <p:txBody>
            <a:bodyPr wrap="none">
              <a:spAutoFit/>
            </a:bodyPr>
            <a:lstStyle/>
            <a:p>
              <a:pPr algn="ctr">
                <a:buNone/>
                <a:defRPr/>
              </a:pPr>
              <a:r>
                <a:rPr lang="en-US" altLang="en-US" sz="1400" dirty="0">
                  <a:solidFill>
                    <a:srgbClr val="00FF00"/>
                  </a:solidFill>
                  <a:hlinkClick r:id="rId7"/>
                </a:rPr>
                <a:t>James@jamesemmettandcompany.com</a:t>
              </a:r>
              <a:endParaRPr lang="en-US" altLang="en-US" sz="1400" dirty="0">
                <a:solidFill>
                  <a:srgbClr val="00FF00"/>
                </a:solidFill>
              </a:endParaRPr>
            </a:p>
          </p:txBody>
        </p:sp>
      </p:grpSp>
      <p:grpSp>
        <p:nvGrpSpPr>
          <p:cNvPr id="11" name="Group 10">
            <a:extLst>
              <a:ext uri="{FF2B5EF4-FFF2-40B4-BE49-F238E27FC236}">
                <a16:creationId xmlns:a16="http://schemas.microsoft.com/office/drawing/2014/main" id="{6DA9CFAB-60C7-4D86-89CC-948968C1A1E1}"/>
              </a:ext>
            </a:extLst>
          </p:cNvPr>
          <p:cNvGrpSpPr/>
          <p:nvPr/>
        </p:nvGrpSpPr>
        <p:grpSpPr>
          <a:xfrm>
            <a:off x="6325344" y="2065223"/>
            <a:ext cx="3234600" cy="2325243"/>
            <a:chOff x="6031712" y="1482912"/>
            <a:chExt cx="3234600" cy="2325243"/>
          </a:xfrm>
        </p:grpSpPr>
        <p:pic>
          <p:nvPicPr>
            <p:cNvPr id="12" name="Picture 2" descr="Jon Stoops">
              <a:extLst>
                <a:ext uri="{FF2B5EF4-FFF2-40B4-BE49-F238E27FC236}">
                  <a16:creationId xmlns:a16="http://schemas.microsoft.com/office/drawing/2014/main" id="{426BB32D-E904-4F96-A0EF-FF082AD7CF2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35" b="15697"/>
            <a:stretch/>
          </p:blipFill>
          <p:spPr bwMode="auto">
            <a:xfrm>
              <a:off x="6929012" y="1482912"/>
              <a:ext cx="1440000" cy="1440000"/>
            </a:xfrm>
            <a:prstGeom prst="ellipse">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52D3FA3-B8B6-41EF-B3C2-A4CA1E8A2D1E}"/>
                </a:ext>
              </a:extLst>
            </p:cNvPr>
            <p:cNvSpPr/>
            <p:nvPr/>
          </p:nvSpPr>
          <p:spPr>
            <a:xfrm>
              <a:off x="6031712" y="3500378"/>
              <a:ext cx="3234600" cy="307777"/>
            </a:xfrm>
            <a:prstGeom prst="rect">
              <a:avLst/>
            </a:prstGeom>
          </p:spPr>
          <p:txBody>
            <a:bodyPr wrap="square">
              <a:spAutoFit/>
            </a:bodyPr>
            <a:lstStyle/>
            <a:p>
              <a:pPr algn="ctr">
                <a:buNone/>
                <a:defRPr/>
              </a:pPr>
              <a:r>
                <a:rPr lang="en-US" altLang="en-US" sz="1400" dirty="0">
                  <a:solidFill>
                    <a:srgbClr val="3E3E6D"/>
                  </a:solidFill>
                  <a:hlinkClick r:id="rId9">
                    <a:extLst>
                      <a:ext uri="{A12FA001-AC4F-418D-AE19-62706E023703}">
                        <ahyp:hlinkClr xmlns:ahyp="http://schemas.microsoft.com/office/drawing/2018/hyperlinkcolor" val="tx"/>
                      </a:ext>
                    </a:extLst>
                  </a:hlinkClick>
                </a:rPr>
                <a:t>Jon@jamesemmettandcompany.com</a:t>
              </a:r>
              <a:endParaRPr lang="en-US" altLang="en-US" sz="1400" dirty="0">
                <a:solidFill>
                  <a:srgbClr val="3E3E6D"/>
                </a:solidFill>
              </a:endParaRPr>
            </a:p>
          </p:txBody>
        </p:sp>
        <p:sp>
          <p:nvSpPr>
            <p:cNvPr id="14" name="Rectangle 3">
              <a:extLst>
                <a:ext uri="{FF2B5EF4-FFF2-40B4-BE49-F238E27FC236}">
                  <a16:creationId xmlns:a16="http://schemas.microsoft.com/office/drawing/2014/main" id="{F7526288-E7D2-4EEC-B1BA-7BFCC59149ED}"/>
                </a:ext>
              </a:extLst>
            </p:cNvPr>
            <p:cNvSpPr txBox="1">
              <a:spLocks noChangeArrowheads="1"/>
            </p:cNvSpPr>
            <p:nvPr/>
          </p:nvSpPr>
          <p:spPr>
            <a:xfrm>
              <a:off x="6676904" y="2925092"/>
              <a:ext cx="1944216" cy="558776"/>
            </a:xfrm>
            <a:prstGeom prst="rect">
              <a:avLst/>
            </a:prstGeom>
          </p:spPr>
          <p:txBody>
            <a:bodyPr vert="horz" lIns="90000" tIns="45720" rIns="91440" bIns="4572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ts val="0"/>
                </a:spcBef>
                <a:spcAft>
                  <a:spcPts val="600"/>
                </a:spcAft>
                <a:buClr>
                  <a:schemeClr val="bg1"/>
                </a:buClr>
                <a:buSzPct val="150000"/>
                <a:buNone/>
                <a:defRPr/>
              </a:pPr>
              <a:r>
                <a:rPr lang="en-US" sz="1800" b="1" dirty="0">
                  <a:solidFill>
                    <a:srgbClr val="0003EF"/>
                  </a:solidFill>
                  <a:latin typeface="Arial" panose="020B0604020202020204" pitchFamily="34" charset="0"/>
                  <a:cs typeface="Arial" panose="020B0604020202020204" pitchFamily="34" charset="0"/>
                </a:rPr>
                <a:t>Jon Stoops</a:t>
              </a:r>
              <a:endParaRPr kumimoji="0" lang="en-US" sz="1800" b="1" i="0" u="none" strike="noStrike" kern="1200" cap="none" spc="0" normalizeH="0" baseline="0" noProof="0" dirty="0">
                <a:ln>
                  <a:noFill/>
                </a:ln>
                <a:solidFill>
                  <a:srgbClr val="0003EF"/>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C8ACBB5-C6CB-411E-8ABE-064178043B22}"/>
              </a:ext>
            </a:extLst>
          </p:cNvPr>
          <p:cNvGrpSpPr/>
          <p:nvPr/>
        </p:nvGrpSpPr>
        <p:grpSpPr>
          <a:xfrm>
            <a:off x="3381245" y="2535486"/>
            <a:ext cx="3343499" cy="2327681"/>
            <a:chOff x="923053" y="4059932"/>
            <a:chExt cx="3343499" cy="2327681"/>
          </a:xfrm>
        </p:grpSpPr>
        <p:pic>
          <p:nvPicPr>
            <p:cNvPr id="16" name="Picture 4">
              <a:extLst>
                <a:ext uri="{FF2B5EF4-FFF2-40B4-BE49-F238E27FC236}">
                  <a16:creationId xmlns:a16="http://schemas.microsoft.com/office/drawing/2014/main" id="{F586CD60-EBBB-4086-948A-587B575B2BAE}"/>
                </a:ext>
              </a:extLst>
            </p:cNvPr>
            <p:cNvPicPr>
              <a:picLocks noChangeAspect="1" noChangeArrowheads="1"/>
            </p:cNvPicPr>
            <p:nvPr/>
          </p:nvPicPr>
          <p:blipFill>
            <a:blip r:embed="rId10"/>
            <a:srcRect l="4061" r="4061"/>
            <a:stretch/>
          </p:blipFill>
          <p:spPr bwMode="auto">
            <a:xfrm>
              <a:off x="1852851" y="4059932"/>
              <a:ext cx="1440000" cy="1440000"/>
            </a:xfrm>
            <a:prstGeom prst="ellipse">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899DE489-6345-426B-89BA-9B87D909446A}"/>
                </a:ext>
              </a:extLst>
            </p:cNvPr>
            <p:cNvSpPr/>
            <p:nvPr/>
          </p:nvSpPr>
          <p:spPr>
            <a:xfrm>
              <a:off x="923053" y="6079836"/>
              <a:ext cx="3343499" cy="307777"/>
            </a:xfrm>
            <a:prstGeom prst="rect">
              <a:avLst/>
            </a:prstGeom>
          </p:spPr>
          <p:txBody>
            <a:bodyPr wrap="square" lIns="91440" tIns="45720" rIns="91440" bIns="45720" anchor="t">
              <a:spAutoFit/>
            </a:bodyPr>
            <a:lstStyle/>
            <a:p>
              <a:pPr algn="ctr">
                <a:buFontTx/>
                <a:buNone/>
                <a:defRPr/>
              </a:pPr>
              <a:r>
                <a:rPr lang="en-US" altLang="en-US" sz="1400" dirty="0">
                  <a:solidFill>
                    <a:srgbClr val="3E3E6D"/>
                  </a:solidFill>
                  <a:latin typeface="Arial"/>
                  <a:cs typeface="Arial"/>
                  <a:hlinkClick r:id="rId11"/>
                </a:rPr>
                <a:t>David@jamesemmettandcompany.com</a:t>
              </a:r>
              <a:endParaRPr lang="en-US" altLang="en-US" sz="1400" dirty="0">
                <a:solidFill>
                  <a:srgbClr val="3E3E6D"/>
                </a:solidFill>
                <a:latin typeface="Arial"/>
                <a:cs typeface="Arial"/>
              </a:endParaRPr>
            </a:p>
          </p:txBody>
        </p:sp>
        <p:sp>
          <p:nvSpPr>
            <p:cNvPr id="18" name="Rectangle 3">
              <a:extLst>
                <a:ext uri="{FF2B5EF4-FFF2-40B4-BE49-F238E27FC236}">
                  <a16:creationId xmlns:a16="http://schemas.microsoft.com/office/drawing/2014/main" id="{B8B6D857-0168-4702-A7FE-D659A5926C9D}"/>
                </a:ext>
              </a:extLst>
            </p:cNvPr>
            <p:cNvSpPr txBox="1">
              <a:spLocks noChangeArrowheads="1"/>
            </p:cNvSpPr>
            <p:nvPr/>
          </p:nvSpPr>
          <p:spPr>
            <a:xfrm>
              <a:off x="1600743" y="5497635"/>
              <a:ext cx="1944216" cy="558776"/>
            </a:xfrm>
            <a:prstGeom prst="rect">
              <a:avLst/>
            </a:prstGeom>
          </p:spPr>
          <p:txBody>
            <a:bodyPr vert="horz" lIns="90000" tIns="45720" rIns="91440" bIns="4572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600"/>
                </a:spcAft>
                <a:buClr>
                  <a:schemeClr val="bg1"/>
                </a:buClr>
                <a:buSzPct val="150000"/>
                <a:buNone/>
                <a:defRPr/>
              </a:pPr>
              <a:r>
                <a:rPr lang="en-US" sz="1800" b="1" dirty="0">
                  <a:solidFill>
                    <a:srgbClr val="0003EF"/>
                  </a:solidFill>
                  <a:latin typeface="Arial"/>
                  <a:cs typeface="Arial"/>
                </a:rPr>
                <a:t>David Silverman</a:t>
              </a:r>
              <a:endParaRPr lang="en-US" sz="1800" b="1" i="0" u="none" strike="noStrike" kern="1200" cap="none" spc="0" normalizeH="0" baseline="0" noProof="0" dirty="0">
                <a:ln>
                  <a:noFill/>
                </a:ln>
                <a:solidFill>
                  <a:srgbClr val="0003EF"/>
                </a:solidFill>
                <a:effectLst/>
                <a:uLnTx/>
                <a:uFillTx/>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25D74563-0154-4999-9F2D-44131AAB6B5D}"/>
              </a:ext>
            </a:extLst>
          </p:cNvPr>
          <p:cNvGrpSpPr/>
          <p:nvPr/>
        </p:nvGrpSpPr>
        <p:grpSpPr>
          <a:xfrm>
            <a:off x="2871713" y="5838697"/>
            <a:ext cx="4314975" cy="389925"/>
            <a:chOff x="2928765" y="5838697"/>
            <a:chExt cx="4314975" cy="389925"/>
          </a:xfrm>
        </p:grpSpPr>
        <p:sp>
          <p:nvSpPr>
            <p:cNvPr id="20" name="Rectangle 19">
              <a:extLst>
                <a:ext uri="{FF2B5EF4-FFF2-40B4-BE49-F238E27FC236}">
                  <a16:creationId xmlns:a16="http://schemas.microsoft.com/office/drawing/2014/main" id="{10372157-B767-4CD9-A1D4-DAF65DB678D9}"/>
                </a:ext>
              </a:extLst>
            </p:cNvPr>
            <p:cNvSpPr/>
            <p:nvPr/>
          </p:nvSpPr>
          <p:spPr>
            <a:xfrm>
              <a:off x="3318690" y="5848994"/>
              <a:ext cx="3925050" cy="369332"/>
            </a:xfrm>
            <a:prstGeom prst="rect">
              <a:avLst/>
            </a:prstGeom>
          </p:spPr>
          <p:txBody>
            <a:bodyPr wrap="none">
              <a:spAutoFit/>
            </a:bodyPr>
            <a:lstStyle/>
            <a:p>
              <a:pPr algn="ctr">
                <a:buFontTx/>
                <a:buNone/>
                <a:defRPr/>
              </a:pPr>
              <a:r>
                <a:rPr lang="en-US" altLang="en-US" dirty="0">
                  <a:solidFill>
                    <a:srgbClr val="0000FF"/>
                  </a:solidFill>
                </a:rPr>
                <a:t>www.jamesemmettandcompany.com</a:t>
              </a:r>
            </a:p>
          </p:txBody>
        </p:sp>
        <p:grpSp>
          <p:nvGrpSpPr>
            <p:cNvPr id="21" name="Group 20">
              <a:extLst>
                <a:ext uri="{FF2B5EF4-FFF2-40B4-BE49-F238E27FC236}">
                  <a16:creationId xmlns:a16="http://schemas.microsoft.com/office/drawing/2014/main" id="{7E9E7677-9F9E-40B2-A308-8FDAED0DEF40}"/>
                </a:ext>
              </a:extLst>
            </p:cNvPr>
            <p:cNvGrpSpPr/>
            <p:nvPr/>
          </p:nvGrpSpPr>
          <p:grpSpPr>
            <a:xfrm>
              <a:off x="2928765" y="5838697"/>
              <a:ext cx="389925" cy="389925"/>
              <a:chOff x="5029994" y="4513510"/>
              <a:chExt cx="647278" cy="647278"/>
            </a:xfrm>
          </p:grpSpPr>
          <p:pic>
            <p:nvPicPr>
              <p:cNvPr id="22" name="Picture 7" descr="Internet, web, website, site icon - Download on Iconfinder">
                <a:extLst>
                  <a:ext uri="{FF2B5EF4-FFF2-40B4-BE49-F238E27FC236}">
                    <a16:creationId xmlns:a16="http://schemas.microsoft.com/office/drawing/2014/main" id="{8742AEFD-002D-4145-A498-112B051BF03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82989" y="4666505"/>
                <a:ext cx="341289" cy="341289"/>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a:extLst>
                  <a:ext uri="{FF2B5EF4-FFF2-40B4-BE49-F238E27FC236}">
                    <a16:creationId xmlns:a16="http://schemas.microsoft.com/office/drawing/2014/main" id="{3D25552C-425D-4668-BE03-74C1A9365682}"/>
                  </a:ext>
                </a:extLst>
              </p:cNvPr>
              <p:cNvSpPr/>
              <p:nvPr/>
            </p:nvSpPr>
            <p:spPr bwMode="auto">
              <a:xfrm>
                <a:off x="5029994" y="4513510"/>
                <a:ext cx="647278" cy="647278"/>
              </a:xfrm>
              <a:prstGeom prst="ellipse">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grpSp>
      </p:grpSp>
    </p:spTree>
    <p:extLst>
      <p:ext uri="{BB962C8B-B14F-4D97-AF65-F5344CB8AC3E}">
        <p14:creationId xmlns:p14="http://schemas.microsoft.com/office/powerpoint/2010/main" val="249986281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7A98E8-B99D-47FD-BC6D-301F1D49EB2F}"/>
              </a:ext>
            </a:extLst>
          </p:cNvPr>
          <p:cNvGraphicFramePr>
            <a:graphicFrameLocks noChangeAspect="1"/>
          </p:cNvGraphicFramePr>
          <p:nvPr>
            <p:custDataLst>
              <p:tags r:id="rId2"/>
            </p:custDataLst>
            <p:extLst>
              <p:ext uri="{D42A27DB-BD31-4B8C-83A1-F6EECF244321}">
                <p14:modId xmlns:p14="http://schemas.microsoft.com/office/powerpoint/2010/main" val="654370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4" imgW="421" imgH="420" progId="TCLayout.ActiveDocument.1">
                  <p:embed/>
                </p:oleObj>
              </mc:Choice>
              <mc:Fallback>
                <p:oleObj name="think-cell Slide" r:id="rId4" imgW="421" imgH="420" progId="TCLayout.ActiveDocument.1">
                  <p:embed/>
                  <p:pic>
                    <p:nvPicPr>
                      <p:cNvPr id="7" name="Object 6" hidden="1">
                        <a:extLst>
                          <a:ext uri="{FF2B5EF4-FFF2-40B4-BE49-F238E27FC236}">
                            <a16:creationId xmlns:a16="http://schemas.microsoft.com/office/drawing/2014/main" id="{4D7A98E8-B99D-47FD-BC6D-301F1D49EB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7F579F-0E7E-3F47-B3E8-FBCB65B4ED42}"/>
              </a:ext>
            </a:extLst>
          </p:cNvPr>
          <p:cNvSpPr>
            <a:spLocks noGrp="1"/>
          </p:cNvSpPr>
          <p:nvPr>
            <p:ph type="title"/>
          </p:nvPr>
        </p:nvSpPr>
        <p:spPr/>
        <p:txBody>
          <a:bodyPr vert="horz"/>
          <a:lstStyle/>
          <a:p>
            <a:r>
              <a:rPr lang="en-US" dirty="0"/>
              <a:t>References: </a:t>
            </a:r>
            <a:r>
              <a:rPr lang="en-US" b="0" i="1" dirty="0"/>
              <a:t>Sources Used </a:t>
            </a:r>
            <a:endParaRPr lang="en-US" dirty="0"/>
          </a:p>
        </p:txBody>
      </p:sp>
      <p:sp>
        <p:nvSpPr>
          <p:cNvPr id="4" name="Text Placeholder 3">
            <a:extLst>
              <a:ext uri="{FF2B5EF4-FFF2-40B4-BE49-F238E27FC236}">
                <a16:creationId xmlns:a16="http://schemas.microsoft.com/office/drawing/2014/main" id="{5CB218C8-129D-1848-8C2F-C99D34E2E815}"/>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ADD6B578-1B1D-7143-9DBF-6D4C01E2C720}"/>
              </a:ext>
            </a:extLst>
          </p:cNvPr>
          <p:cNvSpPr>
            <a:spLocks noGrp="1"/>
          </p:cNvSpPr>
          <p:nvPr>
            <p:ph type="body" sz="quarter" idx="13"/>
          </p:nvPr>
        </p:nvSpPr>
        <p:spPr/>
        <p:txBody>
          <a:bodyPr/>
          <a:lstStyle/>
          <a:p>
            <a:r>
              <a:rPr lang="en-US" dirty="0"/>
              <a:t>The following sources were used to support data included in this presentation</a:t>
            </a:r>
          </a:p>
        </p:txBody>
      </p:sp>
      <p:sp>
        <p:nvSpPr>
          <p:cNvPr id="6" name="TextBox 5">
            <a:extLst>
              <a:ext uri="{FF2B5EF4-FFF2-40B4-BE49-F238E27FC236}">
                <a16:creationId xmlns:a16="http://schemas.microsoft.com/office/drawing/2014/main" id="{31B99F4F-9102-4A42-B9CC-FC0251A77823}"/>
              </a:ext>
            </a:extLst>
          </p:cNvPr>
          <p:cNvSpPr txBox="1"/>
          <p:nvPr/>
        </p:nvSpPr>
        <p:spPr>
          <a:xfrm>
            <a:off x="265312" y="2115716"/>
            <a:ext cx="9793088" cy="3754874"/>
          </a:xfrm>
          <a:prstGeom prst="rect">
            <a:avLst/>
          </a:prstGeom>
          <a:noFill/>
        </p:spPr>
        <p:txBody>
          <a:bodyPr wrap="square" rtlCol="0">
            <a:spAutoFit/>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Unemployed and ready to work: </a:t>
            </a:r>
            <a:r>
              <a:rPr lang="en-US" sz="1400" dirty="0">
                <a:hlinkClick r:id="rId6"/>
              </a:rPr>
              <a:t>https://www.disabilitystatistics.org/reports/acs.cfm?statistic=2</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Reference from Walgreens study: </a:t>
            </a:r>
            <a:r>
              <a:rPr lang="en-US" sz="1400" dirty="0">
                <a:hlinkClick r:id="rId7"/>
              </a:rPr>
              <a:t>https://aeasseincludes.assp.org/professionalsafety/pastissues/057/06/062_071_F1Ka_0612.pdf</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Citation for likelihood of violence by people with disabilities (in relation to liability question):</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u="sng" dirty="0">
                <a:hlinkClick r:id="rId8"/>
              </a:rPr>
              <a:t>https://ps.psychiatryonline.org/doi/10.1176/ps.2008.59.2.147</a:t>
            </a:r>
            <a:endParaRPr lang="en-US" sz="1400" u="sng"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Citation for Accommodation costs and prevalence:</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u="sng" dirty="0">
                <a:hlinkClick r:id="rId9"/>
              </a:rPr>
              <a:t>https://askjan.org/topics/costs.cfm</a:t>
            </a:r>
            <a:endParaRPr lang="en-US" sz="1400" u="sng" dirty="0"/>
          </a:p>
          <a:p>
            <a:endParaRPr lang="en-US" sz="1400" u="sng" dirty="0">
              <a:solidFill>
                <a:srgbClr val="00B0F0"/>
              </a:solidFill>
            </a:endParaRPr>
          </a:p>
          <a:p>
            <a:r>
              <a:rPr lang="en-US" sz="1400" b="1" dirty="0">
                <a:solidFill>
                  <a:srgbClr val="3E3E6D"/>
                </a:solidFill>
              </a:rPr>
              <a:t>Representation of Disability within other Minority or Marginalized Populations:</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Veterans 13-40%: </a:t>
            </a:r>
            <a:r>
              <a:rPr lang="en-US" sz="1400" dirty="0">
                <a:hlinkClick r:id="rId10"/>
              </a:rPr>
              <a:t>https://www.dol.gov/agencies/vets/latest-numbers</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Those that have interacted with the criminal justice system 32-40%: </a:t>
            </a:r>
            <a:r>
              <a:rPr lang="en-US" sz="1400" dirty="0">
                <a:hlinkClick r:id="rId11"/>
              </a:rPr>
              <a:t>https://ldaamerica.org/lda_today/disability-and-criminal-justice-reform/</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Homeless 43%: </a:t>
            </a:r>
            <a:r>
              <a:rPr lang="en-US" sz="1400" dirty="0">
                <a:hlinkClick r:id="rId12"/>
              </a:rPr>
              <a:t>https://www.disabilityscoop.com/2009/07/16/homeless-report/4153/</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Literacy programs 50-80%: 23rd Annual Report to Congress, 2001; National Institute for Literacy. </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Foster Care Alum 33%: </a:t>
            </a:r>
            <a:r>
              <a:rPr lang="en-US" sz="1400" dirty="0">
                <a:hlinkClick r:id="rId13"/>
              </a:rPr>
              <a:t>https://www.findlaw.com/family/foster-care/foster-children-medical-issues-and-children-with-disabilities.html</a:t>
            </a:r>
            <a:endParaRPr lang="en-US" sz="1400" dirty="0"/>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elfare recipients 60-90%: </a:t>
            </a:r>
            <a:r>
              <a:rPr lang="en-US" sz="1400" dirty="0">
                <a:hlinkClick r:id="rId14"/>
              </a:rPr>
              <a:t>https://www.apa.org/monitor/oct01/disabilities</a:t>
            </a:r>
            <a:endParaRPr lang="en-US" sz="1400" dirty="0"/>
          </a:p>
        </p:txBody>
      </p:sp>
      <p:sp>
        <p:nvSpPr>
          <p:cNvPr id="8" name="Text Placeholder 11">
            <a:extLst>
              <a:ext uri="{FF2B5EF4-FFF2-40B4-BE49-F238E27FC236}">
                <a16:creationId xmlns:a16="http://schemas.microsoft.com/office/drawing/2014/main" id="{6BDE4C7A-B849-4D34-91E7-394969F2ECE2}"/>
              </a:ext>
            </a:extLst>
          </p:cNvPr>
          <p:cNvSpPr>
            <a:spLocks noGrp="1"/>
          </p:cNvSpPr>
          <p:nvPr>
            <p:ph type="body" sz="quarter" idx="12"/>
          </p:nvPr>
        </p:nvSpPr>
        <p:spPr>
          <a:xfrm>
            <a:off x="306388" y="1395636"/>
            <a:ext cx="9447213" cy="556067"/>
          </a:xfrm>
        </p:spPr>
        <p:txBody>
          <a:bodyPr/>
          <a:lstStyle/>
          <a:p>
            <a:r>
              <a:rPr lang="en-US" dirty="0"/>
              <a:t>Core Resources</a:t>
            </a:r>
          </a:p>
        </p:txBody>
      </p:sp>
      <p:sp>
        <p:nvSpPr>
          <p:cNvPr id="12" name="Rectangle 11">
            <a:extLst>
              <a:ext uri="{FF2B5EF4-FFF2-40B4-BE49-F238E27FC236}">
                <a16:creationId xmlns:a16="http://schemas.microsoft.com/office/drawing/2014/main" id="{6B81FA98-452D-4268-A745-437132C6F42D}"/>
              </a:ext>
            </a:extLst>
          </p:cNvPr>
          <p:cNvSpPr/>
          <p:nvPr/>
        </p:nvSpPr>
        <p:spPr>
          <a:xfrm>
            <a:off x="290719" y="2007704"/>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0111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CB6C18B-906E-4C7A-89C6-10DDE8866376}"/>
              </a:ext>
            </a:extLst>
          </p:cNvPr>
          <p:cNvSpPr/>
          <p:nvPr/>
        </p:nvSpPr>
        <p:spPr bwMode="auto">
          <a:xfrm>
            <a:off x="276226" y="2511759"/>
            <a:ext cx="9469438" cy="576065"/>
          </a:xfrm>
          <a:prstGeom prst="rect">
            <a:avLst/>
          </a:prstGeom>
          <a:solidFill>
            <a:srgbClr val="00FF00"/>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9" name="Rectangle 3"/>
          <p:cNvSpPr txBox="1">
            <a:spLocks noChangeArrowheads="1"/>
          </p:cNvSpPr>
          <p:nvPr/>
        </p:nvSpPr>
        <p:spPr bwMode="black">
          <a:xfrm>
            <a:off x="1061032" y="2370063"/>
            <a:ext cx="7936336" cy="3385542"/>
          </a:xfrm>
          <a:prstGeom prst="rect">
            <a:avLst/>
          </a:prstGeom>
          <a:noFill/>
          <a:ln w="12700">
            <a:noFill/>
            <a:miter lim="800000"/>
            <a:headEnd/>
            <a:tailEnd/>
          </a:ln>
        </p:spPr>
        <p:txBody>
          <a:bodyPr vert="horz" wrap="square" lIns="0" tIns="0" rIns="0" bIns="0" numCol="1" anchor="t" anchorCtr="1" compatLnSpc="1">
            <a:prstTxWarp prst="textNoShape">
              <a:avLst/>
            </a:prstTxWarp>
            <a:spAutoFit/>
          </a:bodyPr>
          <a:lst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07988" indent="-1762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576263" indent="-165100"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712788" indent="-13493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827088" indent="10017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0" indent="0">
              <a:buNone/>
            </a:pPr>
            <a:endParaRPr lang="en-US" sz="2000" kern="0" dirty="0"/>
          </a:p>
          <a:p>
            <a:pPr>
              <a:buClr>
                <a:srgbClr val="0000FF"/>
              </a:buClr>
              <a:buFont typeface="Wingdings" panose="05000000000000000000" pitchFamily="2" charset="2"/>
              <a:buChar char="§"/>
            </a:pPr>
            <a:r>
              <a:rPr lang="en-US" sz="2000" kern="0" dirty="0"/>
              <a:t>Introduc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ject Framework</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active Resolu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ase Studies</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ustomer Portfolio</a:t>
            </a:r>
          </a:p>
          <a:p>
            <a:pPr marL="0" indent="0">
              <a:buNone/>
            </a:pPr>
            <a:endParaRPr lang="en-US" sz="2000" kern="0" dirty="0"/>
          </a:p>
        </p:txBody>
      </p:sp>
      <p:sp>
        <p:nvSpPr>
          <p:cNvPr id="6" name="Title 5">
            <a:extLst>
              <a:ext uri="{FF2B5EF4-FFF2-40B4-BE49-F238E27FC236}">
                <a16:creationId xmlns:a16="http://schemas.microsoft.com/office/drawing/2014/main" id="{B2CB34CC-D576-4B1A-9D37-90AFD89BF0B3}"/>
              </a:ext>
            </a:extLst>
          </p:cNvPr>
          <p:cNvSpPr>
            <a:spLocks noGrp="1"/>
          </p:cNvSpPr>
          <p:nvPr>
            <p:ph type="title"/>
          </p:nvPr>
        </p:nvSpPr>
        <p:spPr>
          <a:xfrm>
            <a:off x="306388" y="457200"/>
            <a:ext cx="9447212" cy="442913"/>
          </a:xfrm>
        </p:spPr>
        <p:txBody>
          <a:bodyPr vert="horz"/>
          <a:lstStyle/>
          <a:p>
            <a:r>
              <a:rPr lang="en-US" dirty="0"/>
              <a:t>Agenda</a:t>
            </a:r>
          </a:p>
        </p:txBody>
      </p:sp>
    </p:spTree>
    <p:extLst>
      <p:ext uri="{BB962C8B-B14F-4D97-AF65-F5344CB8AC3E}">
        <p14:creationId xmlns:p14="http://schemas.microsoft.com/office/powerpoint/2010/main" val="359803359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77C416C-7C73-42FB-89A8-9290FEFFA3DA}"/>
              </a:ext>
            </a:extLst>
          </p:cNvPr>
          <p:cNvGraphicFramePr>
            <a:graphicFrameLocks noChangeAspect="1"/>
          </p:cNvGraphicFramePr>
          <p:nvPr>
            <p:custDataLst>
              <p:tags r:id="rId2"/>
            </p:custDataLst>
            <p:extLst>
              <p:ext uri="{D42A27DB-BD31-4B8C-83A1-F6EECF244321}">
                <p14:modId xmlns:p14="http://schemas.microsoft.com/office/powerpoint/2010/main" val="4156481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9" imgW="395" imgH="394" progId="TCLayout.ActiveDocument.1">
                  <p:embed/>
                </p:oleObj>
              </mc:Choice>
              <mc:Fallback>
                <p:oleObj name="think-cell Slide" r:id="rId9" imgW="395" imgH="394" progId="TCLayout.ActiveDocument.1">
                  <p:embed/>
                  <p:pic>
                    <p:nvPicPr>
                      <p:cNvPr id="9" name="Object 8" hidden="1">
                        <a:extLst>
                          <a:ext uri="{FF2B5EF4-FFF2-40B4-BE49-F238E27FC236}">
                            <a16:creationId xmlns:a16="http://schemas.microsoft.com/office/drawing/2014/main" id="{077C416C-7C73-42FB-89A8-9290FEFFA3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138" name="Straight Connector 137">
            <a:extLst>
              <a:ext uri="{FF2B5EF4-FFF2-40B4-BE49-F238E27FC236}">
                <a16:creationId xmlns:a16="http://schemas.microsoft.com/office/drawing/2014/main" id="{969A8E9D-66E5-446B-9B6C-7BB4C34B5D3D}"/>
              </a:ext>
            </a:extLst>
          </p:cNvPr>
          <p:cNvCxnSpPr>
            <a:cxnSpLocks/>
          </p:cNvCxnSpPr>
          <p:nvPr/>
        </p:nvCxnSpPr>
        <p:spPr bwMode="auto">
          <a:xfrm>
            <a:off x="3810000" y="6014370"/>
            <a:ext cx="1459193" cy="523321"/>
          </a:xfrm>
          <a:prstGeom prst="line">
            <a:avLst/>
          </a:prstGeom>
          <a:solidFill>
            <a:srgbClr val="FF0000"/>
          </a:solidFill>
          <a:ln w="12700" cap="flat" cmpd="sng" algn="ctr">
            <a:solidFill>
              <a:srgbClr val="0003EF"/>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54E55B51-3588-4DDD-A7E8-5CBCBA07A1F6}"/>
              </a:ext>
            </a:extLst>
          </p:cNvPr>
          <p:cNvCxnSpPr/>
          <p:nvPr/>
        </p:nvCxnSpPr>
        <p:spPr bwMode="auto">
          <a:xfrm flipV="1">
            <a:off x="3803650" y="4827501"/>
            <a:ext cx="1597025" cy="181246"/>
          </a:xfrm>
          <a:prstGeom prst="line">
            <a:avLst/>
          </a:prstGeom>
          <a:solidFill>
            <a:srgbClr val="FF0000"/>
          </a:solidFill>
          <a:ln w="12700" cap="flat" cmpd="sng" algn="ctr">
            <a:solidFill>
              <a:srgbClr val="0003EF"/>
            </a:solidFill>
            <a:prstDash val="solid"/>
            <a:round/>
            <a:headEnd type="none" w="med" len="med"/>
            <a:tailEnd type="none" w="med" len="med"/>
          </a:ln>
          <a:effectLst/>
        </p:spPr>
      </p:cxnSp>
      <p:sp>
        <p:nvSpPr>
          <p:cNvPr id="7" name="Text Placeholder 6">
            <a:extLst>
              <a:ext uri="{FF2B5EF4-FFF2-40B4-BE49-F238E27FC236}">
                <a16:creationId xmlns:a16="http://schemas.microsoft.com/office/drawing/2014/main" id="{EA51E6A7-692F-4A1E-A488-486FA22D1719}"/>
              </a:ext>
            </a:extLst>
          </p:cNvPr>
          <p:cNvSpPr>
            <a:spLocks noGrp="1"/>
          </p:cNvSpPr>
          <p:nvPr>
            <p:ph type="body" sz="quarter" idx="12"/>
          </p:nvPr>
        </p:nvSpPr>
        <p:spPr/>
        <p:txBody>
          <a:bodyPr/>
          <a:lstStyle/>
          <a:p>
            <a:r>
              <a:rPr lang="en-US"/>
              <a:t>Who We Are</a:t>
            </a:r>
          </a:p>
        </p:txBody>
      </p:sp>
      <p:sp>
        <p:nvSpPr>
          <p:cNvPr id="5" name="Title 4">
            <a:extLst>
              <a:ext uri="{FF2B5EF4-FFF2-40B4-BE49-F238E27FC236}">
                <a16:creationId xmlns:a16="http://schemas.microsoft.com/office/drawing/2014/main" id="{3C0F9599-8D35-41E8-8D96-98243142A68A}"/>
              </a:ext>
            </a:extLst>
          </p:cNvPr>
          <p:cNvSpPr>
            <a:spLocks noGrp="1"/>
          </p:cNvSpPr>
          <p:nvPr>
            <p:ph type="title"/>
          </p:nvPr>
        </p:nvSpPr>
        <p:spPr/>
        <p:txBody>
          <a:bodyPr vert="horz"/>
          <a:lstStyle/>
          <a:p>
            <a:r>
              <a:rPr lang="en-US" dirty="0"/>
              <a:t>Introduction: </a:t>
            </a:r>
            <a:r>
              <a:rPr lang="en-US" b="0" i="1" dirty="0"/>
              <a:t>James Emmet &amp; Company (JEC)</a:t>
            </a:r>
            <a:endParaRPr lang="en-US" dirty="0"/>
          </a:p>
        </p:txBody>
      </p:sp>
      <p:sp>
        <p:nvSpPr>
          <p:cNvPr id="8" name="Text Placeholder 7">
            <a:extLst>
              <a:ext uri="{FF2B5EF4-FFF2-40B4-BE49-F238E27FC236}">
                <a16:creationId xmlns:a16="http://schemas.microsoft.com/office/drawing/2014/main" id="{08743984-9BEE-4FC6-9D5F-D639FD64FC1A}"/>
              </a:ext>
            </a:extLst>
          </p:cNvPr>
          <p:cNvSpPr>
            <a:spLocks noGrp="1"/>
          </p:cNvSpPr>
          <p:nvPr>
            <p:ph type="body" sz="quarter" idx="13"/>
          </p:nvPr>
        </p:nvSpPr>
        <p:spPr/>
        <p:txBody>
          <a:bodyPr/>
          <a:lstStyle/>
          <a:p>
            <a:r>
              <a:rPr kumimoji="0" lang="en-US" altLang="en-US" sz="18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he James Emmett brand is one of the most recognizable in the disability inclusion field, and has created the most successful alternative workforce programs in the U.S.</a:t>
            </a:r>
            <a:endParaRPr lang="id-ID" dirty="0"/>
          </a:p>
        </p:txBody>
      </p:sp>
      <p:sp>
        <p:nvSpPr>
          <p:cNvPr id="10" name="Text Placeholder 4">
            <a:extLst>
              <a:ext uri="{FF2B5EF4-FFF2-40B4-BE49-F238E27FC236}">
                <a16:creationId xmlns:a16="http://schemas.microsoft.com/office/drawing/2014/main" id="{46C9D369-E091-4D67-81F9-C3CAB9D5D3CE}"/>
              </a:ext>
            </a:extLst>
          </p:cNvPr>
          <p:cNvSpPr txBox="1">
            <a:spLocks/>
          </p:cNvSpPr>
          <p:nvPr/>
        </p:nvSpPr>
        <p:spPr>
          <a:xfrm>
            <a:off x="312610" y="4383968"/>
            <a:ext cx="9445752" cy="276999"/>
          </a:xfrm>
          <a:prstGeom prst="rect">
            <a:avLst/>
          </a:prstGeom>
          <a:noFill/>
          <a:ln w="12700">
            <a:noFill/>
            <a:miter lim="800000"/>
            <a:headEnd/>
            <a:tailEnd/>
          </a:ln>
          <a:effectLst/>
        </p:spPr>
        <p:txBody>
          <a:bodyPr wrap="square" lIns="0" tIns="0" rIns="0" bIns="0" anchor="b" anchorCtr="1">
            <a:spAutoFit/>
          </a:bodyPr>
          <a:lstStyle>
            <a:lvl1pPr marL="0" indent="0" algn="l" defTabSz="887413" rtl="0" eaLnBrk="1" fontAlgn="base" hangingPunct="1">
              <a:spcBef>
                <a:spcPct val="0"/>
              </a:spcBef>
              <a:spcAft>
                <a:spcPct val="0"/>
              </a:spcAft>
              <a:buClr>
                <a:srgbClr val="003399"/>
              </a:buClr>
              <a:buSzPct val="100000"/>
              <a:buFont typeface="Wingdings" pitchFamily="2" charset="2"/>
              <a:buNone/>
              <a:defRPr lang="en-US" sz="1800" b="1" i="1" kern="1200" dirty="0">
                <a:solidFill>
                  <a:srgbClr val="0000FF"/>
                </a:solidFill>
                <a:latin typeface="Arial" charset="0"/>
                <a:ea typeface="+mn-ea"/>
                <a:cs typeface="Arial" charset="0"/>
              </a:defRPr>
            </a:lvl1pPr>
            <a:lvl2pPr marL="465138" indent="-23336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682625" indent="-21748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914400" indent="-231775"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1028700" indent="-114300"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230188" indent="-230188" algn="ctr" eaLnBrk="0" hangingPunct="0">
              <a:buClr>
                <a:schemeClr val="tx2"/>
              </a:buClr>
            </a:pPr>
            <a:r>
              <a:rPr lang="en-US" dirty="0"/>
              <a:t>Alternative Workforce - Key Statistics</a:t>
            </a:r>
          </a:p>
        </p:txBody>
      </p:sp>
      <p:sp>
        <p:nvSpPr>
          <p:cNvPr id="11" name="Line 6">
            <a:extLst>
              <a:ext uri="{FF2B5EF4-FFF2-40B4-BE49-F238E27FC236}">
                <a16:creationId xmlns:a16="http://schemas.microsoft.com/office/drawing/2014/main" id="{10A9A5BA-2023-41FF-9D57-869820706215}"/>
              </a:ext>
            </a:extLst>
          </p:cNvPr>
          <p:cNvSpPr>
            <a:spLocks noChangeShapeType="1"/>
          </p:cNvSpPr>
          <p:nvPr/>
        </p:nvSpPr>
        <p:spPr bwMode="auto">
          <a:xfrm>
            <a:off x="312610" y="4661567"/>
            <a:ext cx="9445752" cy="0"/>
          </a:xfrm>
          <a:prstGeom prst="line">
            <a:avLst/>
          </a:prstGeom>
          <a:noFill/>
          <a:ln w="12700">
            <a:solidFill>
              <a:srgbClr val="00FF00"/>
            </a:solidFill>
            <a:round/>
            <a:headEnd/>
            <a:tailEnd/>
          </a:ln>
          <a:effectLst/>
        </p:spPr>
        <p:txBody>
          <a:bodyPr/>
          <a:lstStyle/>
          <a:p>
            <a:endParaRPr lang="en-US"/>
          </a:p>
        </p:txBody>
      </p:sp>
      <p:sp>
        <p:nvSpPr>
          <p:cNvPr id="14" name="Rectangle 4">
            <a:extLst>
              <a:ext uri="{FF2B5EF4-FFF2-40B4-BE49-F238E27FC236}">
                <a16:creationId xmlns:a16="http://schemas.microsoft.com/office/drawing/2014/main" id="{F89822C8-6279-4649-AE78-6DC2DC8D0973}"/>
              </a:ext>
            </a:extLst>
          </p:cNvPr>
          <p:cNvSpPr>
            <a:spLocks noChangeArrowheads="1"/>
          </p:cNvSpPr>
          <p:nvPr/>
        </p:nvSpPr>
        <p:spPr bwMode="gray">
          <a:xfrm>
            <a:off x="4215975" y="2295602"/>
            <a:ext cx="5537624" cy="1872342"/>
          </a:xfrm>
          <a:prstGeom prst="rect">
            <a:avLst/>
          </a:prstGeom>
          <a:noFill/>
          <a:ln w="6350">
            <a:noFill/>
            <a:miter lim="800000"/>
            <a:headEnd/>
            <a:tailEnd/>
          </a:ln>
        </p:spPr>
        <p:txBody>
          <a:bodyPr lIns="45720" tIns="45720" rIns="45720" bIns="45720"/>
          <a:lstStyle/>
          <a:p>
            <a:pPr marL="285750" indent="-285750" defTabSz="502920">
              <a:buClr>
                <a:srgbClr val="0000FF"/>
              </a:buClr>
              <a:buFont typeface="Wingdings" panose="05000000000000000000" pitchFamily="2" charset="2"/>
              <a:buChar char="§"/>
            </a:pPr>
            <a:r>
              <a:rPr lang="en-US" altLang="en-US" sz="1400" b="1" dirty="0">
                <a:solidFill>
                  <a:prstClr val="black"/>
                </a:solidFill>
              </a:rPr>
              <a:t>National Team of Disability Inclusion Consultants</a:t>
            </a:r>
          </a:p>
          <a:p>
            <a:pPr marL="568325" lvl="1" indent="-285750" defTabSz="502920">
              <a:buClr>
                <a:srgbClr val="0000FF"/>
              </a:buClr>
              <a:buSzPct val="100000"/>
              <a:buFont typeface="Arial" panose="020B0604020202020204" pitchFamily="34" charset="0"/>
              <a:buChar char="‒"/>
            </a:pPr>
            <a:r>
              <a:rPr lang="en-US" altLang="en-US" sz="1400" dirty="0">
                <a:solidFill>
                  <a:schemeClr val="tx1"/>
                </a:solidFill>
              </a:rPr>
              <a:t>Hundreds of </a:t>
            </a:r>
            <a:r>
              <a:rPr lang="en-US" altLang="en-US" sz="1400" dirty="0">
                <a:solidFill>
                  <a:prstClr val="black"/>
                </a:solidFill>
              </a:rPr>
              <a:t>years of experience</a:t>
            </a:r>
          </a:p>
          <a:p>
            <a:pPr marL="285750" indent="-285750" defTabSz="502920">
              <a:lnSpc>
                <a:spcPct val="150000"/>
              </a:lnSpc>
              <a:buClr>
                <a:srgbClr val="0000FF"/>
              </a:buClr>
              <a:buFont typeface="Wingdings" panose="05000000000000000000" pitchFamily="2" charset="2"/>
              <a:buChar char="§"/>
            </a:pPr>
            <a:r>
              <a:rPr lang="en-US" altLang="en-US" sz="1400" b="1" dirty="0">
                <a:solidFill>
                  <a:prstClr val="black"/>
                </a:solidFill>
              </a:rPr>
              <a:t>Embedded Specialist Model</a:t>
            </a:r>
          </a:p>
          <a:p>
            <a:pPr marL="568325" lvl="1" indent="-285750" defTabSz="502920">
              <a:buClr>
                <a:srgbClr val="0000FF"/>
              </a:buClr>
              <a:buSzPct val="100000"/>
              <a:buFont typeface="Arial" panose="020B0604020202020204" pitchFamily="34" charset="0"/>
              <a:buChar cha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Customized to build customer’s capacity to recruit, hire, train, retain and create an inclusive pipeline of talent</a:t>
            </a:r>
            <a:endParaRPr lang="en-US" altLang="en-US" sz="1400" dirty="0">
              <a:solidFill>
                <a:prstClr val="black"/>
              </a:solidFill>
            </a:endParaRPr>
          </a:p>
          <a:p>
            <a:pPr marL="285750" indent="-285750" defTabSz="502920">
              <a:lnSpc>
                <a:spcPct val="150000"/>
              </a:lnSpc>
              <a:buClr>
                <a:srgbClr val="0000FF"/>
              </a:buClr>
              <a:buFont typeface="Wingdings" panose="05000000000000000000" pitchFamily="2" charset="2"/>
              <a:buChar char="§"/>
            </a:pPr>
            <a:r>
              <a:rPr lang="en-US" altLang="en-US" sz="1400" b="1" dirty="0">
                <a:solidFill>
                  <a:prstClr val="black"/>
                </a:solidFill>
              </a:rPr>
              <a:t>A Sustainable Solution</a:t>
            </a:r>
          </a:p>
          <a:p>
            <a:pPr marL="568325" lvl="1" indent="-285750" defTabSz="502920">
              <a:buClr>
                <a:srgbClr val="0000FF"/>
              </a:buClr>
              <a:buSzPct val="100000"/>
              <a:buFont typeface="Arial" panose="020B0604020202020204" pitchFamily="34" charset="0"/>
              <a:buChar char="‒"/>
            </a:pPr>
            <a:r>
              <a:rPr lang="en-US" altLang="en-US" sz="1400" dirty="0">
                <a:solidFill>
                  <a:prstClr val="black"/>
                </a:solidFill>
              </a:rPr>
              <a:t>Creating high return on investment and lowers costs</a:t>
            </a:r>
          </a:p>
        </p:txBody>
      </p:sp>
      <p:pic>
        <p:nvPicPr>
          <p:cNvPr id="16" name="Picture 15" descr="Man wearing a green cap">
            <a:extLst>
              <a:ext uri="{FF2B5EF4-FFF2-40B4-BE49-F238E27FC236}">
                <a16:creationId xmlns:a16="http://schemas.microsoft.com/office/drawing/2014/main" id="{DD6BF883-A8F7-4AD2-8B88-ADC46B15E15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387" y="5687014"/>
            <a:ext cx="1446211" cy="914400"/>
          </a:xfrm>
          <a:prstGeom prst="rect">
            <a:avLst/>
          </a:prstGeom>
        </p:spPr>
      </p:pic>
      <p:pic>
        <p:nvPicPr>
          <p:cNvPr id="18" name="Picture 17" descr="Couple running on street">
            <a:extLst>
              <a:ext uri="{FF2B5EF4-FFF2-40B4-BE49-F238E27FC236}">
                <a16:creationId xmlns:a16="http://schemas.microsoft.com/office/drawing/2014/main" id="{0489D057-1347-4766-A9F6-8F39041F945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07387" y="4751278"/>
            <a:ext cx="1446212" cy="914401"/>
          </a:xfrm>
          <a:prstGeom prst="rect">
            <a:avLst/>
          </a:prstGeom>
        </p:spPr>
      </p:pic>
      <p:pic>
        <p:nvPicPr>
          <p:cNvPr id="3" name="Picture 3" descr="Logo&#10;&#10;Description automatically generated">
            <a:extLst>
              <a:ext uri="{FF2B5EF4-FFF2-40B4-BE49-F238E27FC236}">
                <a16:creationId xmlns:a16="http://schemas.microsoft.com/office/drawing/2014/main" id="{6DB69F2A-43D7-4D31-BBF1-B69CFABF5814}"/>
              </a:ext>
            </a:extLst>
          </p:cNvPr>
          <p:cNvPicPr>
            <a:picLocks noChangeAspect="1"/>
          </p:cNvPicPr>
          <p:nvPr/>
        </p:nvPicPr>
        <p:blipFill>
          <a:blip r:embed="rId13"/>
          <a:stretch>
            <a:fillRect/>
          </a:stretch>
        </p:blipFill>
        <p:spPr>
          <a:xfrm>
            <a:off x="966144" y="2148548"/>
            <a:ext cx="2493130" cy="911461"/>
          </a:xfrm>
          <a:prstGeom prst="rect">
            <a:avLst/>
          </a:prstGeom>
        </p:spPr>
      </p:pic>
      <p:grpSp>
        <p:nvGrpSpPr>
          <p:cNvPr id="15" name="Group 14">
            <a:extLst>
              <a:ext uri="{FF2B5EF4-FFF2-40B4-BE49-F238E27FC236}">
                <a16:creationId xmlns:a16="http://schemas.microsoft.com/office/drawing/2014/main" id="{CDBDA312-0AD6-401D-8B99-3EAF78896581}"/>
              </a:ext>
            </a:extLst>
          </p:cNvPr>
          <p:cNvGrpSpPr/>
          <p:nvPr/>
        </p:nvGrpSpPr>
        <p:grpSpPr>
          <a:xfrm>
            <a:off x="309431" y="3226090"/>
            <a:ext cx="3793899" cy="1077729"/>
            <a:chOff x="309431" y="3226090"/>
            <a:chExt cx="3793899" cy="1077729"/>
          </a:xfrm>
        </p:grpSpPr>
        <p:pic>
          <p:nvPicPr>
            <p:cNvPr id="4" name="Picture 11" descr="Diagram&#10;&#10;Description automatically generated">
              <a:extLst>
                <a:ext uri="{FF2B5EF4-FFF2-40B4-BE49-F238E27FC236}">
                  <a16:creationId xmlns:a16="http://schemas.microsoft.com/office/drawing/2014/main" id="{40344591-F6EC-4E47-B1D3-7A7241F445F7}"/>
                </a:ext>
              </a:extLst>
            </p:cNvPr>
            <p:cNvPicPr>
              <a:picLocks noChangeAspect="1"/>
            </p:cNvPicPr>
            <p:nvPr/>
          </p:nvPicPr>
          <p:blipFill>
            <a:blip r:embed="rId14"/>
            <a:stretch>
              <a:fillRect/>
            </a:stretch>
          </p:blipFill>
          <p:spPr>
            <a:xfrm>
              <a:off x="309431" y="3226090"/>
              <a:ext cx="1992988" cy="1077729"/>
            </a:xfrm>
            <a:prstGeom prst="rect">
              <a:avLst/>
            </a:prstGeom>
          </p:spPr>
        </p:pic>
        <p:pic>
          <p:nvPicPr>
            <p:cNvPr id="13" name="Picture 14">
              <a:extLst>
                <a:ext uri="{FF2B5EF4-FFF2-40B4-BE49-F238E27FC236}">
                  <a16:creationId xmlns:a16="http://schemas.microsoft.com/office/drawing/2014/main" id="{A5C9D5DB-BC4E-45ED-969C-4A9CC1B14EAF}"/>
                </a:ext>
              </a:extLst>
            </p:cNvPr>
            <p:cNvPicPr>
              <a:picLocks noChangeAspect="1"/>
            </p:cNvPicPr>
            <p:nvPr/>
          </p:nvPicPr>
          <p:blipFill>
            <a:blip r:embed="rId15"/>
            <a:stretch>
              <a:fillRect/>
            </a:stretch>
          </p:blipFill>
          <p:spPr>
            <a:xfrm>
              <a:off x="2301262" y="3229816"/>
              <a:ext cx="1802068" cy="1070275"/>
            </a:xfrm>
            <a:prstGeom prst="rect">
              <a:avLst/>
            </a:prstGeom>
          </p:spPr>
        </p:pic>
      </p:grpSp>
      <p:grpSp>
        <p:nvGrpSpPr>
          <p:cNvPr id="29" name="Group 28">
            <a:extLst>
              <a:ext uri="{FF2B5EF4-FFF2-40B4-BE49-F238E27FC236}">
                <a16:creationId xmlns:a16="http://schemas.microsoft.com/office/drawing/2014/main" id="{B6355AAF-F543-467C-A440-4F6E8AD752B7}"/>
              </a:ext>
            </a:extLst>
          </p:cNvPr>
          <p:cNvGrpSpPr/>
          <p:nvPr/>
        </p:nvGrpSpPr>
        <p:grpSpPr>
          <a:xfrm>
            <a:off x="304801" y="4807271"/>
            <a:ext cx="3704331" cy="2090326"/>
            <a:chOff x="3418896" y="4626940"/>
            <a:chExt cx="3704331" cy="2090326"/>
          </a:xfrm>
        </p:grpSpPr>
        <p:pic>
          <p:nvPicPr>
            <p:cNvPr id="17" name="Graphic 18" descr="Man with solid fill">
              <a:extLst>
                <a:ext uri="{FF2B5EF4-FFF2-40B4-BE49-F238E27FC236}">
                  <a16:creationId xmlns:a16="http://schemas.microsoft.com/office/drawing/2014/main" id="{FDE08BAF-1F52-4276-B170-1CFAA22C870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77358" y="5732051"/>
              <a:ext cx="914400" cy="914400"/>
            </a:xfrm>
            <a:prstGeom prst="rect">
              <a:avLst/>
            </a:prstGeom>
          </p:spPr>
        </p:pic>
        <p:pic>
          <p:nvPicPr>
            <p:cNvPr id="59" name="Graphic 18" descr="Man with solid fill">
              <a:extLst>
                <a:ext uri="{FF2B5EF4-FFF2-40B4-BE49-F238E27FC236}">
                  <a16:creationId xmlns:a16="http://schemas.microsoft.com/office/drawing/2014/main" id="{71810FD9-6531-45B6-BDDE-6DD38451BE7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418896" y="5732050"/>
              <a:ext cx="914400" cy="914400"/>
            </a:xfrm>
            <a:prstGeom prst="rect">
              <a:avLst/>
            </a:prstGeom>
          </p:spPr>
        </p:pic>
        <p:pic>
          <p:nvPicPr>
            <p:cNvPr id="66" name="Graphic 18" descr="Man with solid fill">
              <a:extLst>
                <a:ext uri="{FF2B5EF4-FFF2-40B4-BE49-F238E27FC236}">
                  <a16:creationId xmlns:a16="http://schemas.microsoft.com/office/drawing/2014/main" id="{CFEE9CFA-5A1D-4B11-A286-B4920D340A9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77359" y="4829017"/>
              <a:ext cx="914400" cy="914400"/>
            </a:xfrm>
            <a:prstGeom prst="rect">
              <a:avLst/>
            </a:prstGeom>
          </p:spPr>
        </p:pic>
        <p:pic>
          <p:nvPicPr>
            <p:cNvPr id="68" name="Graphic 18" descr="Man with solid fill">
              <a:extLst>
                <a:ext uri="{FF2B5EF4-FFF2-40B4-BE49-F238E27FC236}">
                  <a16:creationId xmlns:a16="http://schemas.microsoft.com/office/drawing/2014/main" id="{0F63FD8A-8D3A-4BB9-A6D2-13A2A032D12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418896" y="4829016"/>
              <a:ext cx="914400" cy="914400"/>
            </a:xfrm>
            <a:prstGeom prst="rect">
              <a:avLst/>
            </a:prstGeom>
          </p:spPr>
        </p:pic>
        <p:sp>
          <p:nvSpPr>
            <p:cNvPr id="19" name="TextBox 18">
              <a:extLst>
                <a:ext uri="{FF2B5EF4-FFF2-40B4-BE49-F238E27FC236}">
                  <a16:creationId xmlns:a16="http://schemas.microsoft.com/office/drawing/2014/main" id="{525C292B-9117-4783-8A4E-9136244F1D1F}"/>
                </a:ext>
              </a:extLst>
            </p:cNvPr>
            <p:cNvSpPr txBox="1"/>
            <p:nvPr/>
          </p:nvSpPr>
          <p:spPr>
            <a:xfrm>
              <a:off x="4630097" y="4626940"/>
              <a:ext cx="2395879"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800" b="1" dirty="0">
                  <a:latin typeface="Arial"/>
                  <a:cs typeface="Arial"/>
                </a:rPr>
                <a:t>61M</a:t>
              </a:r>
              <a:endParaRPr lang="en-US" sz="8800" b="1" dirty="0"/>
            </a:p>
          </p:txBody>
        </p:sp>
        <p:sp>
          <p:nvSpPr>
            <p:cNvPr id="27" name="TextBox 26">
              <a:extLst>
                <a:ext uri="{FF2B5EF4-FFF2-40B4-BE49-F238E27FC236}">
                  <a16:creationId xmlns:a16="http://schemas.microsoft.com/office/drawing/2014/main" id="{31B636D6-E1DF-4AAE-8FF2-1345C756677F}"/>
                </a:ext>
              </a:extLst>
            </p:cNvPr>
            <p:cNvSpPr txBox="1"/>
            <p:nvPr/>
          </p:nvSpPr>
          <p:spPr>
            <a:xfrm>
              <a:off x="4532849" y="5793936"/>
              <a:ext cx="259037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Arial"/>
                </a:rPr>
                <a:t>Americans with disabilities</a:t>
              </a:r>
            </a:p>
            <a:p>
              <a:pPr algn="ctr"/>
              <a:r>
                <a:rPr lang="en-US">
                  <a:latin typeface="Arial"/>
                  <a:cs typeface="Arial"/>
                </a:rPr>
                <a:t>(1 in 4)</a:t>
              </a:r>
              <a:endParaRPr lang="en-US" dirty="0"/>
            </a:p>
          </p:txBody>
        </p:sp>
      </p:grpSp>
      <p:graphicFrame>
        <p:nvGraphicFramePr>
          <p:cNvPr id="147" name="Chart 146">
            <a:extLst>
              <a:ext uri="{FF2B5EF4-FFF2-40B4-BE49-F238E27FC236}">
                <a16:creationId xmlns:a16="http://schemas.microsoft.com/office/drawing/2014/main" id="{42653399-BFDD-4DB4-A113-437AD436941B}"/>
              </a:ext>
            </a:extLst>
          </p:cNvPr>
          <p:cNvGraphicFramePr/>
          <p:nvPr>
            <p:custDataLst>
              <p:tags r:id="rId3"/>
            </p:custDataLst>
          </p:nvPr>
        </p:nvGraphicFramePr>
        <p:xfrm>
          <a:off x="4262438" y="4683125"/>
          <a:ext cx="2681287" cy="2020888"/>
        </p:xfrm>
        <a:graphic>
          <a:graphicData uri="http://schemas.openxmlformats.org/drawingml/2006/chart">
            <c:chart xmlns:c="http://schemas.openxmlformats.org/drawingml/2006/chart" xmlns:r="http://schemas.openxmlformats.org/officeDocument/2006/relationships" r:id="rId20"/>
          </a:graphicData>
        </a:graphic>
      </p:graphicFrame>
      <p:sp>
        <p:nvSpPr>
          <p:cNvPr id="91" name="Rectangle 90">
            <a:extLst>
              <a:ext uri="{FF2B5EF4-FFF2-40B4-BE49-F238E27FC236}">
                <a16:creationId xmlns:a16="http://schemas.microsoft.com/office/drawing/2014/main" id="{F1619629-2BFD-4A2B-BE9D-4641EDF6B47E}"/>
              </a:ext>
            </a:extLst>
          </p:cNvPr>
          <p:cNvSpPr/>
          <p:nvPr>
            <p:custDataLst>
              <p:tags r:id="rId4"/>
            </p:custDataLst>
          </p:nvPr>
        </p:nvSpPr>
        <p:spPr bwMode="auto">
          <a:xfrm>
            <a:off x="3870325" y="6727825"/>
            <a:ext cx="214313" cy="160338"/>
          </a:xfrm>
          <a:prstGeom prst="rect">
            <a:avLst/>
          </a:prstGeom>
          <a:solidFill>
            <a:srgbClr val="00FF0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87" name="Rectangle 86">
            <a:extLst>
              <a:ext uri="{FF2B5EF4-FFF2-40B4-BE49-F238E27FC236}">
                <a16:creationId xmlns:a16="http://schemas.microsoft.com/office/drawing/2014/main" id="{3365AD6D-4210-4FBA-98C3-174F5F5F3A00}"/>
              </a:ext>
            </a:extLst>
          </p:cNvPr>
          <p:cNvSpPr/>
          <p:nvPr>
            <p:custDataLst>
              <p:tags r:id="rId5"/>
            </p:custDataLst>
          </p:nvPr>
        </p:nvSpPr>
        <p:spPr bwMode="auto">
          <a:xfrm>
            <a:off x="6191250" y="6727825"/>
            <a:ext cx="214313" cy="160338"/>
          </a:xfrm>
          <a:prstGeom prst="rect">
            <a:avLst/>
          </a:prstGeom>
          <a:solidFill>
            <a:srgbClr val="3E3E6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88" name="Rectangle 87">
            <a:extLst>
              <a:ext uri="{FF2B5EF4-FFF2-40B4-BE49-F238E27FC236}">
                <a16:creationId xmlns:a16="http://schemas.microsoft.com/office/drawing/2014/main" id="{C35581CA-0FA7-4D04-A1EB-EA2331CC293D}"/>
              </a:ext>
            </a:extLst>
          </p:cNvPr>
          <p:cNvSpPr/>
          <p:nvPr>
            <p:custDataLst>
              <p:tags r:id="rId6"/>
            </p:custDataLst>
          </p:nvPr>
        </p:nvSpPr>
        <p:spPr bwMode="auto">
          <a:xfrm>
            <a:off x="4135439" y="6723063"/>
            <a:ext cx="19542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numCol="1" spcCol="0" rtlCol="0" anchor="ctr" anchorCtr="0" compatLnSpc="1">
            <a:prstTxWarp prst="textNoShape">
              <a:avLst/>
            </a:prstTxWarp>
            <a:noAutofit/>
          </a:bodyPr>
          <a:lstStyle/>
          <a:p>
            <a:pPr defTabSz="869950"/>
            <a:fld id="{E517D272-C374-4D57-AA23-EE8FA957CC65}" type="datetime'''''''U''nem''pl''oy''''e''d''/''''R''eady'' to Wo''rk'''">
              <a:rPr lang="en-US" altLang="en-US" sz="1200" smtClean="0">
                <a:solidFill>
                  <a:schemeClr val="tx1"/>
                </a:solidFill>
                <a:latin typeface="+mn-lt"/>
                <a:cs typeface="+mn-cs"/>
              </a:rPr>
              <a:pPr/>
              <a:t>Unemployed/Ready to Work</a:t>
            </a:fld>
            <a:endParaRPr lang="en-US" sz="1200" strike="noStrike" normalizeH="0" baseline="30000" dirty="0">
              <a:ln>
                <a:noFill/>
              </a:ln>
              <a:solidFill>
                <a:schemeClr val="tx1"/>
              </a:solidFill>
              <a:effectLst/>
              <a:latin typeface="+mn-lt"/>
              <a:cs typeface="+mn-cs"/>
            </a:endParaRPr>
          </a:p>
        </p:txBody>
      </p:sp>
      <p:sp>
        <p:nvSpPr>
          <p:cNvPr id="35" name="Rectangle 34">
            <a:extLst>
              <a:ext uri="{FF2B5EF4-FFF2-40B4-BE49-F238E27FC236}">
                <a16:creationId xmlns:a16="http://schemas.microsoft.com/office/drawing/2014/main" id="{459321E6-AC29-4B20-B827-27CFC10FF2FE}"/>
              </a:ext>
            </a:extLst>
          </p:cNvPr>
          <p:cNvSpPr/>
          <p:nvPr>
            <p:custDataLst>
              <p:tags r:id="rId7"/>
            </p:custDataLst>
          </p:nvPr>
        </p:nvSpPr>
        <p:spPr bwMode="auto">
          <a:xfrm>
            <a:off x="6456363" y="6723063"/>
            <a:ext cx="457200"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numCol="1" spcCol="0" rtlCol="0" anchor="ctr" anchorCtr="0" compatLnSpc="1">
            <a:prstTxWarp prst="textNoShape">
              <a:avLst/>
            </a:prstTxWarp>
            <a:noAutofit/>
          </a:bodyPr>
          <a:lstStyle/>
          <a:p>
            <a:pPr defTabSz="869950"/>
            <a:fld id="{F8C6CF3D-4119-429A-8E78-01ACAAC1686B}" type="datetime'O''''t''''''''h''''e''''''''''''''''''r''s'''''">
              <a:rPr lang="en-US" altLang="en-US" sz="1200" smtClean="0">
                <a:solidFill>
                  <a:schemeClr val="tx1"/>
                </a:solidFill>
                <a:latin typeface="+mn-lt"/>
                <a:cs typeface="+mn-cs"/>
              </a:rPr>
              <a:pPr defTabSz="869950"/>
              <a:t>Others</a:t>
            </a:fld>
            <a:endParaRPr lang="en-US" sz="1200" strike="noStrike" normalizeH="0" dirty="0">
              <a:ln>
                <a:noFill/>
              </a:ln>
              <a:solidFill>
                <a:schemeClr val="tx1"/>
              </a:solidFill>
              <a:effectLst/>
              <a:latin typeface="+mn-lt"/>
              <a:cs typeface="+mn-cs"/>
            </a:endParaRPr>
          </a:p>
        </p:txBody>
      </p:sp>
      <p:pic>
        <p:nvPicPr>
          <p:cNvPr id="17411" name="Picture 3">
            <a:extLst>
              <a:ext uri="{FF2B5EF4-FFF2-40B4-BE49-F238E27FC236}">
                <a16:creationId xmlns:a16="http://schemas.microsoft.com/office/drawing/2014/main" id="{C3906962-94F3-43E9-BD6A-C51D6BC91FA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70701" y="4769249"/>
            <a:ext cx="137922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7413" name="Picture 5">
            <a:extLst>
              <a:ext uri="{FF2B5EF4-FFF2-40B4-BE49-F238E27FC236}">
                <a16:creationId xmlns:a16="http://schemas.microsoft.com/office/drawing/2014/main" id="{A779C578-61C8-46D3-BE60-016968B66AB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873967" y="5701492"/>
            <a:ext cx="1375954" cy="914400"/>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283C03CF-252D-4528-A3C7-FF3202265AD7}"/>
              </a:ext>
            </a:extLst>
          </p:cNvPr>
          <p:cNvSpPr/>
          <p:nvPr/>
        </p:nvSpPr>
        <p:spPr bwMode="auto">
          <a:xfrm>
            <a:off x="1567500" y="5009347"/>
            <a:ext cx="2236470" cy="1017787"/>
          </a:xfrm>
          <a:prstGeom prst="rect">
            <a:avLst/>
          </a:prstGeom>
          <a:noFill/>
          <a:ln w="12700" cap="flat" cmpd="sng" algn="ctr">
            <a:solidFill>
              <a:srgbClr val="0003EF"/>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32" name="Text Placeholder 4">
            <a:extLst>
              <a:ext uri="{FF2B5EF4-FFF2-40B4-BE49-F238E27FC236}">
                <a16:creationId xmlns:a16="http://schemas.microsoft.com/office/drawing/2014/main" id="{87708165-0033-4E3B-B79A-BCED312C82D8}"/>
              </a:ext>
            </a:extLst>
          </p:cNvPr>
          <p:cNvSpPr>
            <a:spLocks noGrp="1"/>
          </p:cNvSpPr>
          <p:nvPr>
            <p:ph type="body" sz="quarter" idx="11"/>
          </p:nvPr>
        </p:nvSpPr>
        <p:spPr>
          <a:xfrm>
            <a:off x="329184" y="7086600"/>
            <a:ext cx="8229600" cy="393192"/>
          </a:xfrm>
        </p:spPr>
        <p:txBody>
          <a:bodyPr/>
          <a:lstStyle/>
          <a:p>
            <a:r>
              <a:rPr lang="id-ID" dirty="0"/>
              <a:t>www.jamesemmettandcompany.com</a:t>
            </a:r>
          </a:p>
        </p:txBody>
      </p:sp>
      <p:sp>
        <p:nvSpPr>
          <p:cNvPr id="37" name="Rectangle 36">
            <a:extLst>
              <a:ext uri="{FF2B5EF4-FFF2-40B4-BE49-F238E27FC236}">
                <a16:creationId xmlns:a16="http://schemas.microsoft.com/office/drawing/2014/main" id="{50F12775-A822-463E-A20C-30108001C2F2}"/>
              </a:ext>
            </a:extLst>
          </p:cNvPr>
          <p:cNvSpPr/>
          <p:nvPr/>
        </p:nvSpPr>
        <p:spPr>
          <a:xfrm>
            <a:off x="306388" y="2005971"/>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DA68B67-E539-48F2-ADEC-3D8E9193047E}"/>
              </a:ext>
            </a:extLst>
          </p:cNvPr>
          <p:cNvSpPr/>
          <p:nvPr/>
        </p:nvSpPr>
        <p:spPr>
          <a:xfrm>
            <a:off x="306388" y="4666962"/>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5328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F5EDA4F7-40B6-464A-B75D-A6A054160A99}"/>
              </a:ext>
            </a:extLst>
          </p:cNvPr>
          <p:cNvGraphicFramePr>
            <a:graphicFrameLocks noChangeAspect="1"/>
          </p:cNvGraphicFramePr>
          <p:nvPr>
            <p:custDataLst>
              <p:tags r:id="rId2"/>
            </p:custDataLst>
            <p:extLst>
              <p:ext uri="{D42A27DB-BD31-4B8C-83A1-F6EECF244321}">
                <p14:modId xmlns:p14="http://schemas.microsoft.com/office/powerpoint/2010/main" val="2879518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2" name="think-cell Slide" r:id="rId9" imgW="7772400" imgH="10058400" progId="TCLayout.ActiveDocument.1">
                  <p:embed/>
                </p:oleObj>
              </mc:Choice>
              <mc:Fallback>
                <p:oleObj name="think-cell Slide" r:id="rId9" imgW="7772400" imgH="10058400" progId="TCLayout.ActiveDocument.1">
                  <p:embed/>
                  <p:pic>
                    <p:nvPicPr>
                      <p:cNvPr id="27" name="Object 26" hidden="1">
                        <a:extLst>
                          <a:ext uri="{FF2B5EF4-FFF2-40B4-BE49-F238E27FC236}">
                            <a16:creationId xmlns:a16="http://schemas.microsoft.com/office/drawing/2014/main" id="{F5EDA4F7-40B6-464A-B75D-A6A054160A99}"/>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E27DA6-B894-3447-B44D-87DEAD8011E9}"/>
              </a:ext>
            </a:extLst>
          </p:cNvPr>
          <p:cNvSpPr>
            <a:spLocks noGrp="1"/>
          </p:cNvSpPr>
          <p:nvPr>
            <p:ph type="title"/>
          </p:nvPr>
        </p:nvSpPr>
        <p:spPr/>
        <p:txBody>
          <a:bodyPr vert="horz"/>
          <a:lstStyle/>
          <a:p>
            <a:r>
              <a:rPr lang="en-US" dirty="0"/>
              <a:t>Introduction:</a:t>
            </a:r>
            <a:r>
              <a:rPr lang="en-US" b="0" i="1" dirty="0"/>
              <a:t> Disability Hiring has Become Inclusive</a:t>
            </a:r>
            <a:endParaRPr lang="en-US" dirty="0"/>
          </a:p>
        </p:txBody>
      </p:sp>
      <p:sp>
        <p:nvSpPr>
          <p:cNvPr id="4" name="Text Placeholder 3">
            <a:extLst>
              <a:ext uri="{FF2B5EF4-FFF2-40B4-BE49-F238E27FC236}">
                <a16:creationId xmlns:a16="http://schemas.microsoft.com/office/drawing/2014/main" id="{320136BD-EEA7-354F-93C6-EFD852B5DDE8}"/>
              </a:ext>
            </a:extLst>
          </p:cNvPr>
          <p:cNvSpPr>
            <a:spLocks noGrp="1"/>
          </p:cNvSpPr>
          <p:nvPr>
            <p:ph type="body" sz="quarter" idx="13"/>
          </p:nvPr>
        </p:nvSpPr>
        <p:spPr/>
        <p:txBody>
          <a:bodyPr/>
          <a:lstStyle/>
          <a:p>
            <a:r>
              <a:rPr lang="en-US" dirty="0"/>
              <a:t>JEC evolved by recognizing that the human condition is complex, and that one single designation will not solve business’ hiring needs</a:t>
            </a:r>
          </a:p>
        </p:txBody>
      </p:sp>
      <p:sp>
        <p:nvSpPr>
          <p:cNvPr id="14" name="Line 6">
            <a:extLst>
              <a:ext uri="{FF2B5EF4-FFF2-40B4-BE49-F238E27FC236}">
                <a16:creationId xmlns:a16="http://schemas.microsoft.com/office/drawing/2014/main" id="{F14F8564-5270-1E45-9523-27ACA8DCEF4E}"/>
              </a:ext>
            </a:extLst>
          </p:cNvPr>
          <p:cNvSpPr>
            <a:spLocks noChangeShapeType="1"/>
          </p:cNvSpPr>
          <p:nvPr/>
        </p:nvSpPr>
        <p:spPr bwMode="auto">
          <a:xfrm>
            <a:off x="304800" y="4887913"/>
            <a:ext cx="9448800" cy="0"/>
          </a:xfrm>
          <a:prstGeom prst="line">
            <a:avLst/>
          </a:prstGeom>
          <a:noFill/>
          <a:ln w="12700">
            <a:solidFill>
              <a:srgbClr val="00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 name="Rectangle 7">
            <a:extLst>
              <a:ext uri="{FF2B5EF4-FFF2-40B4-BE49-F238E27FC236}">
                <a16:creationId xmlns:a16="http://schemas.microsoft.com/office/drawing/2014/main" id="{84803DBD-4ADC-EE47-9212-F81B793FDA0F}"/>
              </a:ext>
            </a:extLst>
          </p:cNvPr>
          <p:cNvSpPr>
            <a:spLocks noChangeArrowheads="1"/>
          </p:cNvSpPr>
          <p:nvPr/>
        </p:nvSpPr>
        <p:spPr bwMode="gray">
          <a:xfrm>
            <a:off x="385763" y="4564876"/>
            <a:ext cx="9271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nchorCtr="1">
            <a:spAutoFit/>
          </a:bodyPr>
          <a:lstStyle>
            <a:lvl1pPr defTabSz="887413">
              <a:buClr>
                <a:srgbClr val="003399"/>
              </a:buClr>
              <a:buSzPct val="100000"/>
              <a:buFont typeface="Wingdings" panose="05000000000000000000" pitchFamily="2" charset="2"/>
              <a:buChar char="n"/>
              <a:defRPr sz="1600">
                <a:solidFill>
                  <a:schemeClr val="tx1"/>
                </a:solidFill>
                <a:latin typeface="Arial" panose="020B0604020202020204" pitchFamily="34" charset="0"/>
                <a:cs typeface="Arial" panose="020B0604020202020204" pitchFamily="34" charset="0"/>
              </a:defRPr>
            </a:lvl1pPr>
            <a:lvl2pPr marL="465138" indent="-233363" defTabSz="887413">
              <a:buClr>
                <a:srgbClr val="003399"/>
              </a:buClr>
              <a:buSzPct val="100000"/>
              <a:buChar char="•"/>
              <a:defRPr sz="1600">
                <a:solidFill>
                  <a:schemeClr val="tx1"/>
                </a:solidFill>
                <a:latin typeface="Arial" panose="020B0604020202020204" pitchFamily="34" charset="0"/>
                <a:cs typeface="Arial" panose="020B0604020202020204" pitchFamily="34" charset="0"/>
              </a:defRPr>
            </a:lvl2pPr>
            <a:lvl3pPr marL="682625" indent="-217488" defTabSz="887413">
              <a:buClr>
                <a:srgbClr val="003399"/>
              </a:buClr>
              <a:buSzPct val="100000"/>
              <a:buFont typeface="Times New Roman" panose="02020603050405020304" pitchFamily="18" charset="0"/>
              <a:buChar char="–"/>
              <a:defRPr sz="1600">
                <a:solidFill>
                  <a:schemeClr val="tx1"/>
                </a:solidFill>
                <a:latin typeface="Arial" panose="020B0604020202020204" pitchFamily="34" charset="0"/>
                <a:cs typeface="Arial" panose="020B0604020202020204" pitchFamily="34" charset="0"/>
              </a:defRPr>
            </a:lvl3pPr>
            <a:lvl4pPr marL="914400" indent="-231775" defTabSz="887413">
              <a:buClr>
                <a:srgbClr val="003399"/>
              </a:buClr>
              <a:buSzPct val="100000"/>
              <a:buFont typeface="Times New Roman" panose="02020603050405020304" pitchFamily="18" charset="0"/>
              <a:buChar char="-"/>
              <a:defRPr sz="1600">
                <a:solidFill>
                  <a:schemeClr val="tx1"/>
                </a:solidFill>
                <a:latin typeface="Arial" panose="020B0604020202020204" pitchFamily="34" charset="0"/>
                <a:cs typeface="Arial" panose="020B0604020202020204" pitchFamily="34" charset="0"/>
              </a:defRPr>
            </a:lvl4pPr>
            <a:lvl5pPr marL="1028700" indent="-114300" defTabSz="887413">
              <a:buClr>
                <a:srgbClr val="003399"/>
              </a:buClr>
              <a:buSzPct val="100000"/>
              <a:buChar char="•"/>
              <a:defRPr sz="1600">
                <a:solidFill>
                  <a:schemeClr val="tx1"/>
                </a:solidFill>
                <a:latin typeface="Arial" panose="020B0604020202020204" pitchFamily="34" charset="0"/>
                <a:cs typeface="Arial" panose="020B0604020202020204" pitchFamily="34" charset="0"/>
              </a:defRPr>
            </a:lvl5pPr>
            <a:lvl6pPr marL="14859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6pPr>
            <a:lvl7pPr marL="19431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7pPr>
            <a:lvl8pPr marL="24003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8pPr>
            <a:lvl9pPr marL="28575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9pPr>
          </a:lstStyle>
          <a:p>
            <a:pPr algn="ctr">
              <a:buClr>
                <a:schemeClr val="tx2"/>
              </a:buClr>
              <a:buFontTx/>
              <a:buNone/>
            </a:pPr>
            <a:r>
              <a:rPr lang="en-US" altLang="en-US" sz="1800" b="1" i="1" dirty="0">
                <a:solidFill>
                  <a:srgbClr val="0003EF"/>
                </a:solidFill>
              </a:rPr>
              <a:t>Why Alternative Workforce?</a:t>
            </a:r>
          </a:p>
        </p:txBody>
      </p:sp>
      <p:sp>
        <p:nvSpPr>
          <p:cNvPr id="31" name="Text Placeholder 4">
            <a:extLst>
              <a:ext uri="{FF2B5EF4-FFF2-40B4-BE49-F238E27FC236}">
                <a16:creationId xmlns:a16="http://schemas.microsoft.com/office/drawing/2014/main" id="{1E4EC9AC-1127-4EDF-953F-C59B323D413C}"/>
              </a:ext>
            </a:extLst>
          </p:cNvPr>
          <p:cNvSpPr>
            <a:spLocks noGrp="1"/>
          </p:cNvSpPr>
          <p:nvPr>
            <p:ph type="body" sz="quarter" idx="11"/>
          </p:nvPr>
        </p:nvSpPr>
        <p:spPr>
          <a:xfrm>
            <a:off x="329184" y="7086600"/>
            <a:ext cx="8229600" cy="393192"/>
          </a:xfrm>
        </p:spPr>
        <p:txBody>
          <a:bodyPr/>
          <a:lstStyle/>
          <a:p>
            <a:r>
              <a:rPr lang="id-ID" dirty="0"/>
              <a:t>www.jamesemmettandcompany.com</a:t>
            </a:r>
          </a:p>
        </p:txBody>
      </p:sp>
      <p:sp>
        <p:nvSpPr>
          <p:cNvPr id="32" name="TextBox 31">
            <a:extLst>
              <a:ext uri="{FF2B5EF4-FFF2-40B4-BE49-F238E27FC236}">
                <a16:creationId xmlns:a16="http://schemas.microsoft.com/office/drawing/2014/main" id="{BA5B2A9A-3011-4118-ACEF-CDE6238B6919}"/>
              </a:ext>
            </a:extLst>
          </p:cNvPr>
          <p:cNvSpPr txBox="1"/>
          <p:nvPr/>
        </p:nvSpPr>
        <p:spPr>
          <a:xfrm>
            <a:off x="5029200" y="5104048"/>
            <a:ext cx="4724400" cy="1668214"/>
          </a:xfrm>
          <a:prstGeom prst="rect">
            <a:avLst/>
          </a:prstGeom>
          <a:noFill/>
        </p:spPr>
        <p:txBody>
          <a:bodyPr wrap="square" rtlCol="0">
            <a:spAutoFit/>
          </a:bodyPr>
          <a:lstStyle/>
          <a:p>
            <a:pPr marL="285750" marR="0" lvl="0" indent="-285750" algn="l" defTabSz="502920" rtl="0" eaLnBrk="0" fontAlgn="base" latinLnBrk="0" hangingPunct="0">
              <a:lnSpc>
                <a:spcPct val="150000"/>
              </a:lnSpc>
              <a:spcBef>
                <a:spcPct val="0"/>
              </a:spcBef>
              <a:spcAft>
                <a:spcPct val="0"/>
              </a:spcAft>
              <a:buClr>
                <a:srgbClr val="0000FF"/>
              </a:buClr>
              <a:buSzTx/>
              <a:buFont typeface="Wingdings" panose="05000000000000000000" pitchFamily="2" charset="2"/>
              <a:buChar char="§"/>
              <a:tabLst/>
              <a:defRPr/>
            </a:pPr>
            <a:r>
              <a:rPr lang="en-US" sz="1400" dirty="0"/>
              <a:t>Only </a:t>
            </a:r>
            <a:r>
              <a:rPr lang="en-US" sz="1400" b="1" dirty="0"/>
              <a:t>10% of people </a:t>
            </a:r>
            <a:r>
              <a:rPr lang="en-US" sz="1400" dirty="0"/>
              <a:t>with disabilities received employment assistance via the Vocational Rehabilitation Services Agencies</a:t>
            </a:r>
          </a:p>
          <a:p>
            <a:pPr marL="285750" indent="-285750" defTabSz="502920">
              <a:lnSpc>
                <a:spcPct val="150000"/>
              </a:lnSpc>
              <a:buClr>
                <a:srgbClr val="0000FF"/>
              </a:buClr>
              <a:buFont typeface="Wingdings" panose="05000000000000000000" pitchFamily="2" charset="2"/>
              <a:buChar char="§"/>
              <a:defRPr/>
            </a:pPr>
            <a:r>
              <a:rPr lang="en-US" altLang="en-US" sz="1400" dirty="0">
                <a:solidFill>
                  <a:prstClr val="black"/>
                </a:solidFill>
              </a:rPr>
              <a:t>High level of </a:t>
            </a:r>
            <a:r>
              <a:rPr lang="en-US" sz="1400" dirty="0"/>
              <a:t>co-occurring barriers that are served by non-disability specific services.</a:t>
            </a:r>
          </a:p>
        </p:txBody>
      </p:sp>
      <p:sp>
        <p:nvSpPr>
          <p:cNvPr id="28" name="Rectangle 27">
            <a:extLst>
              <a:ext uri="{FF2B5EF4-FFF2-40B4-BE49-F238E27FC236}">
                <a16:creationId xmlns:a16="http://schemas.microsoft.com/office/drawing/2014/main" id="{EFAC0EAD-F5F2-4605-A6FE-222BD45530F9}"/>
              </a:ext>
            </a:extLst>
          </p:cNvPr>
          <p:cNvSpPr/>
          <p:nvPr/>
        </p:nvSpPr>
        <p:spPr>
          <a:xfrm>
            <a:off x="249150" y="4888024"/>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ine 6">
            <a:extLst>
              <a:ext uri="{FF2B5EF4-FFF2-40B4-BE49-F238E27FC236}">
                <a16:creationId xmlns:a16="http://schemas.microsoft.com/office/drawing/2014/main" id="{CD400A87-DDD8-441F-81DD-7396EA57F2E4}"/>
              </a:ext>
            </a:extLst>
          </p:cNvPr>
          <p:cNvSpPr>
            <a:spLocks noChangeShapeType="1"/>
          </p:cNvSpPr>
          <p:nvPr/>
        </p:nvSpPr>
        <p:spPr bwMode="auto">
          <a:xfrm>
            <a:off x="304800" y="2092775"/>
            <a:ext cx="9448800" cy="0"/>
          </a:xfrm>
          <a:prstGeom prst="line">
            <a:avLst/>
          </a:prstGeom>
          <a:noFill/>
          <a:ln w="12700">
            <a:solidFill>
              <a:srgbClr val="00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 name="Rectangle 7">
            <a:extLst>
              <a:ext uri="{FF2B5EF4-FFF2-40B4-BE49-F238E27FC236}">
                <a16:creationId xmlns:a16="http://schemas.microsoft.com/office/drawing/2014/main" id="{0B87C067-2BB8-4F4E-996A-67A81720638E}"/>
              </a:ext>
            </a:extLst>
          </p:cNvPr>
          <p:cNvSpPr>
            <a:spLocks noChangeArrowheads="1"/>
          </p:cNvSpPr>
          <p:nvPr/>
        </p:nvSpPr>
        <p:spPr bwMode="gray">
          <a:xfrm>
            <a:off x="385763" y="1769738"/>
            <a:ext cx="9271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nchorCtr="1">
            <a:spAutoFit/>
          </a:bodyPr>
          <a:lstStyle>
            <a:lvl1pPr defTabSz="887413">
              <a:buClr>
                <a:srgbClr val="003399"/>
              </a:buClr>
              <a:buSzPct val="100000"/>
              <a:buFont typeface="Wingdings" panose="05000000000000000000" pitchFamily="2" charset="2"/>
              <a:buChar char="n"/>
              <a:defRPr sz="1600">
                <a:solidFill>
                  <a:schemeClr val="tx1"/>
                </a:solidFill>
                <a:latin typeface="Arial" panose="020B0604020202020204" pitchFamily="34" charset="0"/>
                <a:cs typeface="Arial" panose="020B0604020202020204" pitchFamily="34" charset="0"/>
              </a:defRPr>
            </a:lvl1pPr>
            <a:lvl2pPr marL="465138" indent="-233363" defTabSz="887413">
              <a:buClr>
                <a:srgbClr val="003399"/>
              </a:buClr>
              <a:buSzPct val="100000"/>
              <a:buChar char="•"/>
              <a:defRPr sz="1600">
                <a:solidFill>
                  <a:schemeClr val="tx1"/>
                </a:solidFill>
                <a:latin typeface="Arial" panose="020B0604020202020204" pitchFamily="34" charset="0"/>
                <a:cs typeface="Arial" panose="020B0604020202020204" pitchFamily="34" charset="0"/>
              </a:defRPr>
            </a:lvl2pPr>
            <a:lvl3pPr marL="682625" indent="-217488" defTabSz="887413">
              <a:buClr>
                <a:srgbClr val="003399"/>
              </a:buClr>
              <a:buSzPct val="100000"/>
              <a:buFont typeface="Times New Roman" panose="02020603050405020304" pitchFamily="18" charset="0"/>
              <a:buChar char="–"/>
              <a:defRPr sz="1600">
                <a:solidFill>
                  <a:schemeClr val="tx1"/>
                </a:solidFill>
                <a:latin typeface="Arial" panose="020B0604020202020204" pitchFamily="34" charset="0"/>
                <a:cs typeface="Arial" panose="020B0604020202020204" pitchFamily="34" charset="0"/>
              </a:defRPr>
            </a:lvl3pPr>
            <a:lvl4pPr marL="914400" indent="-231775" defTabSz="887413">
              <a:buClr>
                <a:srgbClr val="003399"/>
              </a:buClr>
              <a:buSzPct val="100000"/>
              <a:buFont typeface="Times New Roman" panose="02020603050405020304" pitchFamily="18" charset="0"/>
              <a:buChar char="-"/>
              <a:defRPr sz="1600">
                <a:solidFill>
                  <a:schemeClr val="tx1"/>
                </a:solidFill>
                <a:latin typeface="Arial" panose="020B0604020202020204" pitchFamily="34" charset="0"/>
                <a:cs typeface="Arial" panose="020B0604020202020204" pitchFamily="34" charset="0"/>
              </a:defRPr>
            </a:lvl4pPr>
            <a:lvl5pPr marL="1028700" indent="-114300" defTabSz="887413">
              <a:buClr>
                <a:srgbClr val="003399"/>
              </a:buClr>
              <a:buSzPct val="100000"/>
              <a:buChar char="•"/>
              <a:defRPr sz="1600">
                <a:solidFill>
                  <a:schemeClr val="tx1"/>
                </a:solidFill>
                <a:latin typeface="Arial" panose="020B0604020202020204" pitchFamily="34" charset="0"/>
                <a:cs typeface="Arial" panose="020B0604020202020204" pitchFamily="34" charset="0"/>
              </a:defRPr>
            </a:lvl5pPr>
            <a:lvl6pPr marL="14859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6pPr>
            <a:lvl7pPr marL="19431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7pPr>
            <a:lvl8pPr marL="24003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8pPr>
            <a:lvl9pPr marL="2857500" indent="-114300" defTabSz="887413" eaLnBrk="0" fontAlgn="base" hangingPunct="0">
              <a:spcBef>
                <a:spcPct val="0"/>
              </a:spcBef>
              <a:spcAft>
                <a:spcPct val="0"/>
              </a:spcAft>
              <a:buClr>
                <a:srgbClr val="003399"/>
              </a:buClr>
              <a:buSzPct val="100000"/>
              <a:buChar char="•"/>
              <a:defRPr sz="1600">
                <a:solidFill>
                  <a:schemeClr val="tx1"/>
                </a:solidFill>
                <a:latin typeface="Arial" panose="020B0604020202020204" pitchFamily="34" charset="0"/>
                <a:cs typeface="Arial" panose="020B0604020202020204" pitchFamily="34" charset="0"/>
              </a:defRPr>
            </a:lvl9pPr>
          </a:lstStyle>
          <a:p>
            <a:pPr algn="ctr">
              <a:buClr>
                <a:schemeClr val="tx2"/>
              </a:buClr>
              <a:buFontTx/>
              <a:buNone/>
            </a:pPr>
            <a:r>
              <a:rPr lang="en-US" altLang="en-US" sz="1800" b="1" i="1" dirty="0">
                <a:solidFill>
                  <a:srgbClr val="0003EF"/>
                </a:solidFill>
              </a:rPr>
              <a:t>Our Journey</a:t>
            </a:r>
          </a:p>
        </p:txBody>
      </p:sp>
      <p:sp>
        <p:nvSpPr>
          <p:cNvPr id="35" name="Rectangle 34">
            <a:extLst>
              <a:ext uri="{FF2B5EF4-FFF2-40B4-BE49-F238E27FC236}">
                <a16:creationId xmlns:a16="http://schemas.microsoft.com/office/drawing/2014/main" id="{24D1CA68-5371-40A0-BB52-120AA42361DF}"/>
              </a:ext>
            </a:extLst>
          </p:cNvPr>
          <p:cNvSpPr/>
          <p:nvPr/>
        </p:nvSpPr>
        <p:spPr>
          <a:xfrm>
            <a:off x="281023" y="2101809"/>
            <a:ext cx="477448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2">
            <a:extLst>
              <a:ext uri="{FF2B5EF4-FFF2-40B4-BE49-F238E27FC236}">
                <a16:creationId xmlns:a16="http://schemas.microsoft.com/office/drawing/2014/main" id="{41BF9F6C-4AD8-457B-A312-B74D7264D367}"/>
              </a:ext>
            </a:extLst>
          </p:cNvPr>
          <p:cNvSpPr>
            <a:spLocks noChangeArrowheads="1"/>
          </p:cNvSpPr>
          <p:nvPr>
            <p:custDataLst>
              <p:tags r:id="rId3"/>
            </p:custDataLst>
          </p:nvPr>
        </p:nvSpPr>
        <p:spPr bwMode="gray">
          <a:xfrm>
            <a:off x="281021" y="2601354"/>
            <a:ext cx="3960000" cy="1800000"/>
          </a:xfrm>
          <a:prstGeom prst="rect">
            <a:avLst/>
          </a:prstGeom>
          <a:noFill/>
          <a:ln w="6350" algn="ctr">
            <a:solidFill>
              <a:srgbClr val="00FF00"/>
            </a:solidFill>
            <a:miter lim="800000"/>
            <a:headEnd/>
            <a:tailEnd/>
          </a:ln>
        </p:spPr>
        <p:txBody>
          <a:bodyPr lIns="72000" tIns="36000" rIns="72000" bIns="36000"/>
          <a:lstStyle/>
          <a:p>
            <a:pPr>
              <a:buClr>
                <a:schemeClr val="bg2"/>
              </a:buClr>
            </a:pPr>
            <a:endParaRPr lang="fr-FR" sz="1400" dirty="0"/>
          </a:p>
        </p:txBody>
      </p:sp>
      <p:sp>
        <p:nvSpPr>
          <p:cNvPr id="42" name="Rectangle 5">
            <a:extLst>
              <a:ext uri="{FF2B5EF4-FFF2-40B4-BE49-F238E27FC236}">
                <a16:creationId xmlns:a16="http://schemas.microsoft.com/office/drawing/2014/main" id="{2362E0D7-5E5F-4858-B6E9-65152441752F}"/>
              </a:ext>
            </a:extLst>
          </p:cNvPr>
          <p:cNvSpPr>
            <a:spLocks noChangeArrowheads="1"/>
          </p:cNvSpPr>
          <p:nvPr>
            <p:custDataLst>
              <p:tags r:id="rId4"/>
            </p:custDataLst>
          </p:nvPr>
        </p:nvSpPr>
        <p:spPr bwMode="gray">
          <a:xfrm>
            <a:off x="281022" y="2248825"/>
            <a:ext cx="3960000" cy="360000"/>
          </a:xfrm>
          <a:prstGeom prst="rect">
            <a:avLst/>
          </a:prstGeom>
          <a:solidFill>
            <a:srgbClr val="3E3E6D"/>
          </a:solidFill>
          <a:ln w="6350">
            <a:noFill/>
            <a:miter lim="800000"/>
            <a:headEnd/>
            <a:tailEnd/>
          </a:ln>
        </p:spPr>
        <p:txBody>
          <a:bodyPr wrap="none" lIns="72000" tIns="72000" rIns="72000" bIns="72000" anchor="ctr"/>
          <a:lstStyle/>
          <a:p>
            <a:pPr eaLnBrk="0" hangingPunct="0">
              <a:lnSpc>
                <a:spcPct val="90000"/>
              </a:lnSpc>
              <a:spcBef>
                <a:spcPct val="0"/>
              </a:spcBef>
            </a:pPr>
            <a:r>
              <a:rPr lang="en-US" sz="1400" b="1" dirty="0">
                <a:solidFill>
                  <a:schemeClr val="bg1"/>
                </a:solidFill>
                <a:latin typeface="Arial" pitchFamily="34" charset="0"/>
                <a:cs typeface="Arial" pitchFamily="34" charset="0"/>
              </a:rPr>
              <a:t>Exclusive Focus on Disability</a:t>
            </a:r>
          </a:p>
        </p:txBody>
      </p:sp>
      <p:sp>
        <p:nvSpPr>
          <p:cNvPr id="54" name="Rectangle 41">
            <a:extLst>
              <a:ext uri="{FF2B5EF4-FFF2-40B4-BE49-F238E27FC236}">
                <a16:creationId xmlns:a16="http://schemas.microsoft.com/office/drawing/2014/main" id="{53FF176B-0362-4E99-B697-80E87D0F586B}"/>
              </a:ext>
            </a:extLst>
          </p:cNvPr>
          <p:cNvSpPr>
            <a:spLocks noChangeArrowheads="1"/>
          </p:cNvSpPr>
          <p:nvPr>
            <p:custDataLst>
              <p:tags r:id="rId5"/>
            </p:custDataLst>
          </p:nvPr>
        </p:nvSpPr>
        <p:spPr bwMode="gray">
          <a:xfrm>
            <a:off x="4415249" y="4131940"/>
            <a:ext cx="1227901" cy="255968"/>
          </a:xfrm>
          <a:prstGeom prst="rect">
            <a:avLst/>
          </a:prstGeom>
          <a:solidFill>
            <a:srgbClr val="00FF00"/>
          </a:solidFill>
          <a:ln w="6350">
            <a:noFill/>
            <a:miter lim="800000"/>
            <a:headEnd/>
            <a:tailEnd/>
          </a:ln>
        </p:spPr>
        <p:txBody>
          <a:bodyPr wrap="none" lIns="90488" tIns="44450" rIns="90488" bIns="44450" anchor="ctr" anchorCtr="1">
            <a:spAutoFit/>
          </a:bodyPr>
          <a:lstStyle/>
          <a:p>
            <a:pPr algn="ctr" eaLnBrk="0" hangingPunct="0">
              <a:lnSpc>
                <a:spcPct val="90000"/>
              </a:lnSpc>
              <a:spcBef>
                <a:spcPts val="0"/>
              </a:spcBef>
              <a:buClrTx/>
            </a:pPr>
            <a:r>
              <a:rPr lang="en-US" sz="1200" b="1" i="0" dirty="0">
                <a:solidFill>
                  <a:schemeClr val="bg1"/>
                </a:solidFill>
                <a:latin typeface="Arial" pitchFamily="34" charset="0"/>
                <a:cs typeface="Arial" pitchFamily="34" charset="0"/>
              </a:rPr>
              <a:t>JEC Evolution</a:t>
            </a:r>
          </a:p>
        </p:txBody>
      </p:sp>
      <p:sp>
        <p:nvSpPr>
          <p:cNvPr id="56" name="Rectangle 2">
            <a:extLst>
              <a:ext uri="{FF2B5EF4-FFF2-40B4-BE49-F238E27FC236}">
                <a16:creationId xmlns:a16="http://schemas.microsoft.com/office/drawing/2014/main" id="{A180826C-5910-4190-ABCB-6209D2743C50}"/>
              </a:ext>
            </a:extLst>
          </p:cNvPr>
          <p:cNvSpPr>
            <a:spLocks noChangeArrowheads="1"/>
          </p:cNvSpPr>
          <p:nvPr>
            <p:custDataLst>
              <p:tags r:id="rId6"/>
            </p:custDataLst>
          </p:nvPr>
        </p:nvSpPr>
        <p:spPr bwMode="gray">
          <a:xfrm>
            <a:off x="5785284" y="2598269"/>
            <a:ext cx="3960000" cy="1800000"/>
          </a:xfrm>
          <a:prstGeom prst="rect">
            <a:avLst/>
          </a:prstGeom>
          <a:noFill/>
          <a:ln w="6350" algn="ctr">
            <a:solidFill>
              <a:srgbClr val="00FF00"/>
            </a:solidFill>
            <a:miter lim="800000"/>
            <a:headEnd/>
            <a:tailEnd/>
          </a:ln>
        </p:spPr>
        <p:txBody>
          <a:bodyPr lIns="72000" tIns="36000" rIns="72000" bIns="36000"/>
          <a:lstStyle/>
          <a:p>
            <a:pPr>
              <a:buClr>
                <a:schemeClr val="bg2"/>
              </a:buClr>
            </a:pPr>
            <a:endParaRPr lang="fr-FR" sz="1400" dirty="0"/>
          </a:p>
        </p:txBody>
      </p:sp>
      <p:sp>
        <p:nvSpPr>
          <p:cNvPr id="57" name="Rectangle 5">
            <a:extLst>
              <a:ext uri="{FF2B5EF4-FFF2-40B4-BE49-F238E27FC236}">
                <a16:creationId xmlns:a16="http://schemas.microsoft.com/office/drawing/2014/main" id="{698C3E94-40E7-4AC7-A070-A9291674B964}"/>
              </a:ext>
            </a:extLst>
          </p:cNvPr>
          <p:cNvSpPr>
            <a:spLocks noChangeArrowheads="1"/>
          </p:cNvSpPr>
          <p:nvPr>
            <p:custDataLst>
              <p:tags r:id="rId7"/>
            </p:custDataLst>
          </p:nvPr>
        </p:nvSpPr>
        <p:spPr bwMode="gray">
          <a:xfrm>
            <a:off x="5785284" y="2248825"/>
            <a:ext cx="3959999" cy="360000"/>
          </a:xfrm>
          <a:prstGeom prst="rect">
            <a:avLst/>
          </a:prstGeom>
          <a:solidFill>
            <a:srgbClr val="3E3E6D"/>
          </a:solidFill>
          <a:ln w="6350">
            <a:noFill/>
            <a:miter lim="800000"/>
            <a:headEnd/>
            <a:tailEnd/>
          </a:ln>
        </p:spPr>
        <p:txBody>
          <a:bodyPr wrap="none" lIns="72000" tIns="72000" rIns="72000" bIns="72000" anchor="ctr"/>
          <a:lstStyle/>
          <a:p>
            <a:pPr eaLnBrk="0" hangingPunct="0">
              <a:lnSpc>
                <a:spcPct val="90000"/>
              </a:lnSpc>
              <a:spcBef>
                <a:spcPct val="0"/>
              </a:spcBef>
            </a:pPr>
            <a:r>
              <a:rPr lang="en-US" sz="1400" b="1" dirty="0">
                <a:solidFill>
                  <a:schemeClr val="bg1"/>
                </a:solidFill>
                <a:latin typeface="Arial" pitchFamily="34" charset="0"/>
                <a:cs typeface="Arial" pitchFamily="34" charset="0"/>
              </a:rPr>
              <a:t>Alternative Workforce</a:t>
            </a:r>
          </a:p>
        </p:txBody>
      </p:sp>
      <p:sp>
        <p:nvSpPr>
          <p:cNvPr id="59" name="TextBox 58">
            <a:extLst>
              <a:ext uri="{FF2B5EF4-FFF2-40B4-BE49-F238E27FC236}">
                <a16:creationId xmlns:a16="http://schemas.microsoft.com/office/drawing/2014/main" id="{A80C4D8D-ECFF-4415-A3E5-5D1F2811EF32}"/>
              </a:ext>
            </a:extLst>
          </p:cNvPr>
          <p:cNvSpPr txBox="1"/>
          <p:nvPr/>
        </p:nvSpPr>
        <p:spPr>
          <a:xfrm>
            <a:off x="1756662" y="2984276"/>
            <a:ext cx="2484357" cy="1021883"/>
          </a:xfrm>
          <a:prstGeom prst="rect">
            <a:avLst/>
          </a:prstGeom>
          <a:noFill/>
        </p:spPr>
        <p:txBody>
          <a:bodyPr wrap="square" rtlCol="0" anchor="ctr">
            <a:spAutoFit/>
          </a:bodyPr>
          <a:lstStyle/>
          <a:p>
            <a:pPr marR="0" lvl="0" algn="l" defTabSz="502920" rtl="0" eaLnBrk="0" fontAlgn="base" latinLnBrk="0" hangingPunct="0">
              <a:lnSpc>
                <a:spcPct val="150000"/>
              </a:lnSpc>
              <a:spcBef>
                <a:spcPct val="0"/>
              </a:spcBef>
              <a:spcAft>
                <a:spcPct val="0"/>
              </a:spcAft>
              <a:buClr>
                <a:srgbClr val="0000FF"/>
              </a:buClr>
              <a:buSzTx/>
              <a:tabLst/>
              <a:defRPr/>
            </a:pPr>
            <a:r>
              <a:rPr lang="en-US" sz="1400" dirty="0"/>
              <a:t>Focused on ensuring businesses could </a:t>
            </a:r>
            <a:r>
              <a:rPr lang="en-US" sz="1400" b="1" dirty="0"/>
              <a:t>employ people with disabilities</a:t>
            </a:r>
          </a:p>
        </p:txBody>
      </p:sp>
      <p:sp>
        <p:nvSpPr>
          <p:cNvPr id="60" name="TextBox 59">
            <a:extLst>
              <a:ext uri="{FF2B5EF4-FFF2-40B4-BE49-F238E27FC236}">
                <a16:creationId xmlns:a16="http://schemas.microsoft.com/office/drawing/2014/main" id="{4497BC6C-A6AE-4CD5-8CF4-0C9B9684BB0F}"/>
              </a:ext>
            </a:extLst>
          </p:cNvPr>
          <p:cNvSpPr txBox="1"/>
          <p:nvPr/>
        </p:nvSpPr>
        <p:spPr>
          <a:xfrm>
            <a:off x="7369840" y="2822694"/>
            <a:ext cx="2375822" cy="1345048"/>
          </a:xfrm>
          <a:prstGeom prst="rect">
            <a:avLst/>
          </a:prstGeom>
          <a:noFill/>
        </p:spPr>
        <p:txBody>
          <a:bodyPr wrap="square" rtlCol="0" anchor="ctr">
            <a:spAutoFit/>
          </a:bodyPr>
          <a:lstStyle/>
          <a:p>
            <a:pPr marR="0" lvl="0" algn="l" defTabSz="502920" rtl="0" eaLnBrk="0" fontAlgn="base" latinLnBrk="0" hangingPunct="0">
              <a:lnSpc>
                <a:spcPct val="150000"/>
              </a:lnSpc>
              <a:spcBef>
                <a:spcPct val="0"/>
              </a:spcBef>
              <a:spcAft>
                <a:spcPct val="0"/>
              </a:spcAft>
              <a:buClr>
                <a:srgbClr val="0000FF"/>
              </a:buClr>
              <a:buSzTx/>
              <a:tabLst/>
              <a:defRPr/>
            </a:pPr>
            <a:r>
              <a:rPr lang="en-US" sz="1400" b="1" dirty="0"/>
              <a:t>Leverage a sourcing and support model </a:t>
            </a:r>
            <a:r>
              <a:rPr lang="en-US" sz="1400" dirty="0"/>
              <a:t>that includes multiple barriers to work and live</a:t>
            </a:r>
          </a:p>
        </p:txBody>
      </p:sp>
      <p:sp>
        <p:nvSpPr>
          <p:cNvPr id="3" name="Isosceles Triangle 2">
            <a:extLst>
              <a:ext uri="{FF2B5EF4-FFF2-40B4-BE49-F238E27FC236}">
                <a16:creationId xmlns:a16="http://schemas.microsoft.com/office/drawing/2014/main" id="{87E2BD02-8101-4487-AB76-4C30F3556904}"/>
              </a:ext>
            </a:extLst>
          </p:cNvPr>
          <p:cNvSpPr/>
          <p:nvPr/>
        </p:nvSpPr>
        <p:spPr bwMode="auto">
          <a:xfrm rot="5400000">
            <a:off x="4310961" y="3076758"/>
            <a:ext cx="1489092" cy="283891"/>
          </a:xfrm>
          <a:prstGeom prst="triangle">
            <a:avLst/>
          </a:prstGeom>
          <a:solidFill>
            <a:srgbClr val="3E3E6D"/>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pic>
        <p:nvPicPr>
          <p:cNvPr id="6" name="Graphic 5" descr="Wheelchair with solid fill">
            <a:extLst>
              <a:ext uri="{FF2B5EF4-FFF2-40B4-BE49-F238E27FC236}">
                <a16:creationId xmlns:a16="http://schemas.microsoft.com/office/drawing/2014/main" id="{F0AC4F1A-51AA-4C70-ACB2-3743D95E4C6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84905" y="2811335"/>
            <a:ext cx="1368152" cy="1368152"/>
          </a:xfrm>
          <a:prstGeom prst="rect">
            <a:avLst/>
          </a:prstGeom>
        </p:spPr>
      </p:pic>
      <p:pic>
        <p:nvPicPr>
          <p:cNvPr id="8" name="Graphic 7" descr="Person in wheelchair with solid fill">
            <a:extLst>
              <a:ext uri="{FF2B5EF4-FFF2-40B4-BE49-F238E27FC236}">
                <a16:creationId xmlns:a16="http://schemas.microsoft.com/office/drawing/2014/main" id="{77B4B2A1-5C3A-48B3-B13B-88C07606A85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76672" y="2809418"/>
            <a:ext cx="1371600" cy="1371600"/>
          </a:xfrm>
          <a:prstGeom prst="rect">
            <a:avLst/>
          </a:prstGeom>
        </p:spPr>
      </p:pic>
      <p:cxnSp>
        <p:nvCxnSpPr>
          <p:cNvPr id="12" name="Straight Connector 11">
            <a:extLst>
              <a:ext uri="{FF2B5EF4-FFF2-40B4-BE49-F238E27FC236}">
                <a16:creationId xmlns:a16="http://schemas.microsoft.com/office/drawing/2014/main" id="{4F8E0984-7A0E-4B4F-86FF-D05BD8ECC209}"/>
              </a:ext>
            </a:extLst>
          </p:cNvPr>
          <p:cNvCxnSpPr/>
          <p:nvPr/>
        </p:nvCxnSpPr>
        <p:spPr bwMode="auto">
          <a:xfrm>
            <a:off x="1652902" y="2900858"/>
            <a:ext cx="0" cy="1188720"/>
          </a:xfrm>
          <a:prstGeom prst="line">
            <a:avLst/>
          </a:prstGeom>
          <a:solidFill>
            <a:srgbClr val="FF0000"/>
          </a:solidFill>
          <a:ln w="38100" cap="flat" cmpd="sng" algn="ctr">
            <a:solidFill>
              <a:srgbClr val="3E3E6D"/>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D53C0D6C-5901-41C8-B07A-263A57977D79}"/>
              </a:ext>
            </a:extLst>
          </p:cNvPr>
          <p:cNvCxnSpPr/>
          <p:nvPr/>
        </p:nvCxnSpPr>
        <p:spPr bwMode="auto">
          <a:xfrm>
            <a:off x="7261448" y="2900858"/>
            <a:ext cx="0" cy="1188720"/>
          </a:xfrm>
          <a:prstGeom prst="line">
            <a:avLst/>
          </a:prstGeom>
          <a:solidFill>
            <a:srgbClr val="FF0000"/>
          </a:solidFill>
          <a:ln w="38100" cap="flat" cmpd="sng" algn="ctr">
            <a:solidFill>
              <a:srgbClr val="3E3E6D"/>
            </a:solidFill>
            <a:prstDash val="solid"/>
            <a:round/>
            <a:headEnd type="none" w="med" len="med"/>
            <a:tailEnd type="none" w="med" len="med"/>
          </a:ln>
          <a:effectLst/>
        </p:spPr>
      </p:cxnSp>
      <p:pic>
        <p:nvPicPr>
          <p:cNvPr id="36" name="Graphic 35" descr="Person in wheelchair with solid fill">
            <a:extLst>
              <a:ext uri="{FF2B5EF4-FFF2-40B4-BE49-F238E27FC236}">
                <a16:creationId xmlns:a16="http://schemas.microsoft.com/office/drawing/2014/main" id="{24B1F2FE-B598-474C-B950-96E20F18EBA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46823" y="5017720"/>
            <a:ext cx="895783" cy="895783"/>
          </a:xfrm>
          <a:prstGeom prst="rect">
            <a:avLst/>
          </a:prstGeom>
        </p:spPr>
      </p:pic>
      <p:pic>
        <p:nvPicPr>
          <p:cNvPr id="38" name="Graphic 37" descr="Person in wheelchair with solid fill">
            <a:extLst>
              <a:ext uri="{FF2B5EF4-FFF2-40B4-BE49-F238E27FC236}">
                <a16:creationId xmlns:a16="http://schemas.microsoft.com/office/drawing/2014/main" id="{ED56F4B1-B933-7547-873B-BCD2187F101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67372" y="5017719"/>
            <a:ext cx="895783" cy="895783"/>
          </a:xfrm>
          <a:prstGeom prst="rect">
            <a:avLst/>
          </a:prstGeom>
        </p:spPr>
      </p:pic>
      <p:pic>
        <p:nvPicPr>
          <p:cNvPr id="41" name="Graphic 40" descr="Person in wheelchair with solid fill">
            <a:extLst>
              <a:ext uri="{FF2B5EF4-FFF2-40B4-BE49-F238E27FC236}">
                <a16:creationId xmlns:a16="http://schemas.microsoft.com/office/drawing/2014/main" id="{2659BC89-35EE-3D4B-BCF8-FF190B93B8F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88038" y="5002118"/>
            <a:ext cx="895783" cy="895783"/>
          </a:xfrm>
          <a:prstGeom prst="rect">
            <a:avLst/>
          </a:prstGeom>
        </p:spPr>
      </p:pic>
      <p:pic>
        <p:nvPicPr>
          <p:cNvPr id="46" name="Graphic 45" descr="Person in wheelchair with solid fill">
            <a:extLst>
              <a:ext uri="{FF2B5EF4-FFF2-40B4-BE49-F238E27FC236}">
                <a16:creationId xmlns:a16="http://schemas.microsoft.com/office/drawing/2014/main" id="{0BF17BE1-53D7-1745-BD9A-45CCF05109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08704" y="4994874"/>
            <a:ext cx="895783" cy="895783"/>
          </a:xfrm>
          <a:prstGeom prst="rect">
            <a:avLst/>
          </a:prstGeom>
        </p:spPr>
      </p:pic>
      <p:pic>
        <p:nvPicPr>
          <p:cNvPr id="48" name="Graphic 47" descr="Person in wheelchair with solid fill">
            <a:extLst>
              <a:ext uri="{FF2B5EF4-FFF2-40B4-BE49-F238E27FC236}">
                <a16:creationId xmlns:a16="http://schemas.microsoft.com/office/drawing/2014/main" id="{C73226B0-1B02-FE4E-BA94-7EB389CD144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08704" y="5897901"/>
            <a:ext cx="895783" cy="895783"/>
          </a:xfrm>
          <a:prstGeom prst="rect">
            <a:avLst/>
          </a:prstGeom>
        </p:spPr>
      </p:pic>
      <p:pic>
        <p:nvPicPr>
          <p:cNvPr id="55" name="Graphic 54" descr="Person in wheelchair with solid fill">
            <a:extLst>
              <a:ext uri="{FF2B5EF4-FFF2-40B4-BE49-F238E27FC236}">
                <a16:creationId xmlns:a16="http://schemas.microsoft.com/office/drawing/2014/main" id="{933281C1-4510-D74B-8F0E-55F73508EA4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88037" y="5897046"/>
            <a:ext cx="895783" cy="895783"/>
          </a:xfrm>
          <a:prstGeom prst="rect">
            <a:avLst/>
          </a:prstGeom>
        </p:spPr>
      </p:pic>
      <p:pic>
        <p:nvPicPr>
          <p:cNvPr id="58" name="Graphic 57" descr="Person in wheelchair with solid fill">
            <a:extLst>
              <a:ext uri="{FF2B5EF4-FFF2-40B4-BE49-F238E27FC236}">
                <a16:creationId xmlns:a16="http://schemas.microsoft.com/office/drawing/2014/main" id="{4069D84C-E847-A644-B67F-237827A71E1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60515" y="5912647"/>
            <a:ext cx="895783" cy="895783"/>
          </a:xfrm>
          <a:prstGeom prst="rect">
            <a:avLst/>
          </a:prstGeom>
        </p:spPr>
      </p:pic>
      <p:pic>
        <p:nvPicPr>
          <p:cNvPr id="61" name="Graphic 60" descr="Person in wheelchair with solid fill">
            <a:extLst>
              <a:ext uri="{FF2B5EF4-FFF2-40B4-BE49-F238E27FC236}">
                <a16:creationId xmlns:a16="http://schemas.microsoft.com/office/drawing/2014/main" id="{E688DD67-5F1E-244E-A6F5-7753E39F74D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8401" y="5912646"/>
            <a:ext cx="895783" cy="895783"/>
          </a:xfrm>
          <a:prstGeom prst="rect">
            <a:avLst/>
          </a:prstGeom>
        </p:spPr>
      </p:pic>
      <p:pic>
        <p:nvPicPr>
          <p:cNvPr id="62" name="Graphic 61" descr="Person in wheelchair with solid fill">
            <a:extLst>
              <a:ext uri="{FF2B5EF4-FFF2-40B4-BE49-F238E27FC236}">
                <a16:creationId xmlns:a16="http://schemas.microsoft.com/office/drawing/2014/main" id="{4374D886-D025-D34F-91E9-0F7A4665EC9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0879" y="5904243"/>
            <a:ext cx="895783" cy="895783"/>
          </a:xfrm>
          <a:prstGeom prst="rect">
            <a:avLst/>
          </a:prstGeom>
        </p:spPr>
      </p:pic>
      <p:pic>
        <p:nvPicPr>
          <p:cNvPr id="63" name="Graphic 62" descr="Person in wheelchair with solid fill">
            <a:extLst>
              <a:ext uri="{FF2B5EF4-FFF2-40B4-BE49-F238E27FC236}">
                <a16:creationId xmlns:a16="http://schemas.microsoft.com/office/drawing/2014/main" id="{863E8F8A-6A68-AD49-AB3B-C588348B9CE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0879" y="4988223"/>
            <a:ext cx="895783" cy="895783"/>
          </a:xfrm>
          <a:prstGeom prst="rect">
            <a:avLst/>
          </a:prstGeom>
        </p:spPr>
      </p:pic>
    </p:spTree>
    <p:extLst>
      <p:ext uri="{BB962C8B-B14F-4D97-AF65-F5344CB8AC3E}">
        <p14:creationId xmlns:p14="http://schemas.microsoft.com/office/powerpoint/2010/main" val="3617535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612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CB6C18B-906E-4C7A-89C6-10DDE8866376}"/>
              </a:ext>
            </a:extLst>
          </p:cNvPr>
          <p:cNvSpPr/>
          <p:nvPr/>
        </p:nvSpPr>
        <p:spPr bwMode="auto">
          <a:xfrm>
            <a:off x="276226" y="3141829"/>
            <a:ext cx="9469438" cy="576065"/>
          </a:xfrm>
          <a:prstGeom prst="rect">
            <a:avLst/>
          </a:prstGeom>
          <a:solidFill>
            <a:srgbClr val="00FF00"/>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9" name="Rectangle 3"/>
          <p:cNvSpPr txBox="1">
            <a:spLocks noChangeArrowheads="1"/>
          </p:cNvSpPr>
          <p:nvPr/>
        </p:nvSpPr>
        <p:spPr bwMode="black">
          <a:xfrm>
            <a:off x="1061032" y="2370063"/>
            <a:ext cx="7936336" cy="3385542"/>
          </a:xfrm>
          <a:prstGeom prst="rect">
            <a:avLst/>
          </a:prstGeom>
          <a:noFill/>
          <a:ln w="12700">
            <a:noFill/>
            <a:miter lim="800000"/>
            <a:headEnd/>
            <a:tailEnd/>
          </a:ln>
        </p:spPr>
        <p:txBody>
          <a:bodyPr vert="horz" wrap="square" lIns="0" tIns="0" rIns="0" bIns="0" numCol="1" anchor="t" anchorCtr="1" compatLnSpc="1">
            <a:prstTxWarp prst="textNoShape">
              <a:avLst/>
            </a:prstTxWarp>
            <a:spAutoFit/>
          </a:bodyPr>
          <a:lst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07988" indent="-1762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576263" indent="-165100"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712788" indent="-13493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827088" indent="10017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0" indent="0">
              <a:buNone/>
            </a:pPr>
            <a:endParaRPr lang="en-US" sz="2000" kern="0" dirty="0"/>
          </a:p>
          <a:p>
            <a:pPr>
              <a:buClr>
                <a:srgbClr val="0000FF"/>
              </a:buClr>
              <a:buFont typeface="Wingdings" panose="05000000000000000000" pitchFamily="2" charset="2"/>
              <a:buChar char="§"/>
            </a:pPr>
            <a:r>
              <a:rPr lang="en-US" sz="2000" kern="0" dirty="0"/>
              <a:t>Introduc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ject Framework</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active Resolu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ase Studies</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ustomer Portfolio</a:t>
            </a:r>
          </a:p>
          <a:p>
            <a:pPr marL="0" indent="0">
              <a:buNone/>
            </a:pPr>
            <a:endParaRPr lang="en-US" sz="2000" kern="0" dirty="0"/>
          </a:p>
        </p:txBody>
      </p:sp>
      <p:sp>
        <p:nvSpPr>
          <p:cNvPr id="6" name="Title 5">
            <a:extLst>
              <a:ext uri="{FF2B5EF4-FFF2-40B4-BE49-F238E27FC236}">
                <a16:creationId xmlns:a16="http://schemas.microsoft.com/office/drawing/2014/main" id="{B2CB34CC-D576-4B1A-9D37-90AFD89BF0B3}"/>
              </a:ext>
            </a:extLst>
          </p:cNvPr>
          <p:cNvSpPr>
            <a:spLocks noGrp="1"/>
          </p:cNvSpPr>
          <p:nvPr>
            <p:ph type="title"/>
          </p:nvPr>
        </p:nvSpPr>
        <p:spPr>
          <a:xfrm>
            <a:off x="306388" y="457200"/>
            <a:ext cx="9447212" cy="442913"/>
          </a:xfrm>
        </p:spPr>
        <p:txBody>
          <a:bodyPr vert="horz"/>
          <a:lstStyle/>
          <a:p>
            <a:r>
              <a:rPr lang="en-US" dirty="0"/>
              <a:t>Agenda</a:t>
            </a:r>
          </a:p>
        </p:txBody>
      </p:sp>
    </p:spTree>
    <p:extLst>
      <p:ext uri="{BB962C8B-B14F-4D97-AF65-F5344CB8AC3E}">
        <p14:creationId xmlns:p14="http://schemas.microsoft.com/office/powerpoint/2010/main" val="240647453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080119-66D4-4EDA-B4F4-7F20AEB663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4" imgW="421" imgH="420" progId="TCLayout.ActiveDocument.1">
                  <p:embed/>
                </p:oleObj>
              </mc:Choice>
              <mc:Fallback>
                <p:oleObj name="think-cell Slide" r:id="rId4" imgW="421" imgH="420" progId="TCLayout.ActiveDocument.1">
                  <p:embed/>
                  <p:pic>
                    <p:nvPicPr>
                      <p:cNvPr id="8" name="Object 7" hidden="1">
                        <a:extLst>
                          <a:ext uri="{FF2B5EF4-FFF2-40B4-BE49-F238E27FC236}">
                            <a16:creationId xmlns:a16="http://schemas.microsoft.com/office/drawing/2014/main" id="{62080119-66D4-4EDA-B4F4-7F20AEB663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B5A2A41-8DF3-4459-B258-FABD8B8E329B}"/>
              </a:ext>
            </a:extLst>
          </p:cNvPr>
          <p:cNvSpPr>
            <a:spLocks noGrp="1"/>
          </p:cNvSpPr>
          <p:nvPr>
            <p:ph type="body" sz="quarter" idx="13"/>
          </p:nvPr>
        </p:nvSpPr>
        <p:spPr>
          <a:xfrm>
            <a:off x="5185695" y="1863688"/>
            <a:ext cx="4572000" cy="365760"/>
          </a:xfrm>
        </p:spPr>
        <p:txBody>
          <a:bodyPr/>
          <a:lstStyle/>
          <a:p>
            <a:r>
              <a:rPr lang="en-US">
                <a:latin typeface="Arial"/>
                <a:cs typeface="Arial"/>
              </a:rPr>
              <a:t>Cost Structure &amp; ROI</a:t>
            </a:r>
            <a:endParaRPr lang="id-ID">
              <a:latin typeface="Arial"/>
              <a:cs typeface="Arial"/>
            </a:endParaRPr>
          </a:p>
        </p:txBody>
      </p:sp>
      <p:sp>
        <p:nvSpPr>
          <p:cNvPr id="3" name="Text Placeholder 2">
            <a:extLst>
              <a:ext uri="{FF2B5EF4-FFF2-40B4-BE49-F238E27FC236}">
                <a16:creationId xmlns:a16="http://schemas.microsoft.com/office/drawing/2014/main" id="{AEDF15E1-D61F-4AA6-9DE6-507E4E2C7D62}"/>
              </a:ext>
            </a:extLst>
          </p:cNvPr>
          <p:cNvSpPr>
            <a:spLocks noGrp="1"/>
          </p:cNvSpPr>
          <p:nvPr>
            <p:ph type="body" sz="quarter" idx="12"/>
          </p:nvPr>
        </p:nvSpPr>
        <p:spPr>
          <a:xfrm>
            <a:off x="332377" y="1863688"/>
            <a:ext cx="4572000" cy="365760"/>
          </a:xfrm>
        </p:spPr>
        <p:txBody>
          <a:bodyPr/>
          <a:lstStyle/>
          <a:p>
            <a:r>
              <a:rPr lang="en-US">
                <a:latin typeface="Arial"/>
                <a:cs typeface="Arial"/>
              </a:rPr>
              <a:t>JEC Process</a:t>
            </a:r>
            <a:endParaRPr lang="id-ID">
              <a:latin typeface="Arial"/>
              <a:cs typeface="Arial"/>
            </a:endParaRPr>
          </a:p>
        </p:txBody>
      </p:sp>
      <p:sp>
        <p:nvSpPr>
          <p:cNvPr id="4" name="Title 3">
            <a:extLst>
              <a:ext uri="{FF2B5EF4-FFF2-40B4-BE49-F238E27FC236}">
                <a16:creationId xmlns:a16="http://schemas.microsoft.com/office/drawing/2014/main" id="{131F4F3F-346B-4F0B-93E1-8E92962E4F86}"/>
              </a:ext>
            </a:extLst>
          </p:cNvPr>
          <p:cNvSpPr>
            <a:spLocks noGrp="1"/>
          </p:cNvSpPr>
          <p:nvPr>
            <p:ph type="title"/>
          </p:nvPr>
        </p:nvSpPr>
        <p:spPr/>
        <p:txBody>
          <a:bodyPr vert="horz"/>
          <a:lstStyle/>
          <a:p>
            <a:r>
              <a:rPr lang="en-US" dirty="0"/>
              <a:t>Project Framework: </a:t>
            </a:r>
            <a:r>
              <a:rPr lang="en-US" b="0" i="1" dirty="0"/>
              <a:t>Process Breakdown</a:t>
            </a:r>
            <a:endParaRPr lang="id-ID" b="0" i="1" dirty="0"/>
          </a:p>
        </p:txBody>
      </p:sp>
      <p:sp>
        <p:nvSpPr>
          <p:cNvPr id="5" name="Text Placeholder 4">
            <a:extLst>
              <a:ext uri="{FF2B5EF4-FFF2-40B4-BE49-F238E27FC236}">
                <a16:creationId xmlns:a16="http://schemas.microsoft.com/office/drawing/2014/main" id="{428EAB59-1D6D-4700-93E6-5C35AE9B81E6}"/>
              </a:ext>
            </a:extLst>
          </p:cNvPr>
          <p:cNvSpPr>
            <a:spLocks noGrp="1"/>
          </p:cNvSpPr>
          <p:nvPr>
            <p:ph type="body" sz="quarter" idx="11"/>
          </p:nvPr>
        </p:nvSpPr>
        <p:spPr/>
        <p:txBody>
          <a:bodyPr/>
          <a:lstStyle/>
          <a:p>
            <a:r>
              <a:rPr lang="id-ID" dirty="0"/>
              <a:t>www.jamesemmettandcompany.com</a:t>
            </a:r>
          </a:p>
        </p:txBody>
      </p:sp>
      <p:sp>
        <p:nvSpPr>
          <p:cNvPr id="6" name="Text Placeholder 5">
            <a:extLst>
              <a:ext uri="{FF2B5EF4-FFF2-40B4-BE49-F238E27FC236}">
                <a16:creationId xmlns:a16="http://schemas.microsoft.com/office/drawing/2014/main" id="{4A52136E-6A13-46E0-859D-197FAD88AA55}"/>
              </a:ext>
            </a:extLst>
          </p:cNvPr>
          <p:cNvSpPr>
            <a:spLocks noGrp="1"/>
          </p:cNvSpPr>
          <p:nvPr>
            <p:ph type="body" sz="quarter" idx="14"/>
          </p:nvPr>
        </p:nvSpPr>
        <p:spPr>
          <a:xfrm>
            <a:off x="310483" y="987551"/>
            <a:ext cx="9443117" cy="722195"/>
          </a:xfrm>
        </p:spPr>
        <p:txBody>
          <a:bodyPr/>
          <a:lstStyle/>
          <a:p>
            <a:r>
              <a:rPr lang="en-US" dirty="0"/>
              <a:t>JEC’s 3 step process develops two alternative recruitment plans that come with a cost neutral approach to ROI</a:t>
            </a:r>
            <a:endParaRPr lang="id-ID" dirty="0"/>
          </a:p>
        </p:txBody>
      </p:sp>
      <p:sp>
        <p:nvSpPr>
          <p:cNvPr id="19" name="Rectangle 4">
            <a:extLst>
              <a:ext uri="{FF2B5EF4-FFF2-40B4-BE49-F238E27FC236}">
                <a16:creationId xmlns:a16="http://schemas.microsoft.com/office/drawing/2014/main" id="{490ECA5B-CF13-43DD-8094-F2AB7282E093}"/>
              </a:ext>
            </a:extLst>
          </p:cNvPr>
          <p:cNvSpPr>
            <a:spLocks noChangeArrowheads="1"/>
          </p:cNvSpPr>
          <p:nvPr/>
        </p:nvSpPr>
        <p:spPr bwMode="gray">
          <a:xfrm>
            <a:off x="2113685" y="2283322"/>
            <a:ext cx="2785008" cy="2886290"/>
          </a:xfrm>
          <a:prstGeom prst="rect">
            <a:avLst/>
          </a:prstGeom>
          <a:noFill/>
          <a:ln w="6350">
            <a:noFill/>
            <a:miter lim="800000"/>
            <a:headEnd/>
            <a:tailEnd/>
          </a:ln>
        </p:spPr>
        <p:txBody>
          <a:bodyPr lIns="45720" tIns="45720" rIns="45720" bIns="45720"/>
          <a:lstStyle/>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Conduct assessment</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Half day onsite at work site</a:t>
            </a:r>
          </a:p>
          <a:p>
            <a:pPr marL="91440" lvl="1" defTabSz="502920">
              <a:buClr>
                <a:srgbClr val="0000FF"/>
              </a:buClr>
              <a:buSzPct val="100000"/>
            </a:pPr>
            <a:endParaRPr lang="en-US" altLang="en-US" sz="1400" dirty="0">
              <a:solidFill>
                <a:prstClr val="black"/>
              </a:solidFill>
            </a:endParaRP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Report out &amp; recommend plan for succes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Objectives:  # hires/year</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Cost structure</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ROI methodology</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Metrics &amp; Outcomes</a:t>
            </a:r>
          </a:p>
          <a:p>
            <a:pPr marL="91440" lvl="1" defTabSz="502920">
              <a:buClr>
                <a:srgbClr val="0000FF"/>
              </a:buClr>
              <a:buSzPct val="100000"/>
            </a:pPr>
            <a:endParaRPr lang="en-US" altLang="en-US" sz="1400" dirty="0">
              <a:solidFill>
                <a:prstClr val="black"/>
              </a:solidFill>
            </a:endParaRPr>
          </a:p>
          <a:p>
            <a:pPr marL="285750" indent="-285750" defTabSz="502920">
              <a:buClr>
                <a:srgbClr val="0000FF"/>
              </a:buClr>
              <a:buSzPct val="100000"/>
              <a:buFont typeface="Wingdings" panose="05000000000000000000" pitchFamily="2" charset="2"/>
              <a:buChar char="§"/>
            </a:pPr>
            <a:r>
              <a:rPr lang="en-US" altLang="en-US" sz="1400" dirty="0">
                <a:solidFill>
                  <a:prstClr val="black"/>
                </a:solidFill>
              </a:rPr>
              <a:t>Customize plan, as needed</a:t>
            </a:r>
          </a:p>
        </p:txBody>
      </p:sp>
      <p:sp>
        <p:nvSpPr>
          <p:cNvPr id="25" name="Pentagon 18">
            <a:extLst>
              <a:ext uri="{FF2B5EF4-FFF2-40B4-BE49-F238E27FC236}">
                <a16:creationId xmlns:a16="http://schemas.microsoft.com/office/drawing/2014/main" id="{AAB56824-9216-4DDB-84D4-5BE4D41EB4C5}"/>
              </a:ext>
            </a:extLst>
          </p:cNvPr>
          <p:cNvSpPr/>
          <p:nvPr/>
        </p:nvSpPr>
        <p:spPr bwMode="auto">
          <a:xfrm rot="5400000">
            <a:off x="696659" y="1968989"/>
            <a:ext cx="914400" cy="1700785"/>
          </a:xfrm>
          <a:prstGeom prst="homePlate">
            <a:avLst>
              <a:gd name="adj" fmla="val 20000"/>
            </a:avLst>
          </a:prstGeom>
          <a:solidFill>
            <a:srgbClr val="3E3E6D"/>
          </a:solidFill>
          <a:ln w="6350" cap="flat" cmpd="sng" algn="ctr">
            <a:noFill/>
            <a:prstDash val="solid"/>
            <a:round/>
            <a:headEnd type="none" w="med" len="med"/>
            <a:tailEnd type="none" w="med" len="med"/>
          </a:ln>
          <a:effectLst/>
        </p:spPr>
        <p:txBody>
          <a:bodyPr vert="vert270" wrap="square" lIns="45720" tIns="45720" rIns="45720" bIns="45720" numCol="1" rtlCol="0" anchor="ctr" anchorCtr="0" compatLnSpc="1">
            <a:prstTxWarp prst="textNoShape">
              <a:avLst/>
            </a:prstTxWarp>
          </a:bodyPr>
          <a:lstStyle/>
          <a:p>
            <a:pPr algn="ctr" fontAlgn="base">
              <a:lnSpc>
                <a:spcPct val="90000"/>
              </a:lnSpc>
              <a:spcBef>
                <a:spcPct val="0"/>
              </a:spcBef>
              <a:spcAft>
                <a:spcPct val="0"/>
              </a:spcAft>
            </a:pPr>
            <a:r>
              <a:rPr kumimoji="0" lang="en-US" sz="1600" b="1" i="0" u="none" strike="noStrike" cap="none" normalizeH="0" baseline="0" dirty="0">
                <a:ln>
                  <a:noFill/>
                </a:ln>
                <a:solidFill>
                  <a:schemeClr val="bg1"/>
                </a:solidFill>
                <a:effectLst/>
                <a:latin typeface="Arial" pitchFamily="-108" charset="0"/>
              </a:rPr>
              <a:t>1. Assess</a:t>
            </a:r>
          </a:p>
        </p:txBody>
      </p:sp>
      <p:sp>
        <p:nvSpPr>
          <p:cNvPr id="29" name="Chevron 19">
            <a:extLst>
              <a:ext uri="{FF2B5EF4-FFF2-40B4-BE49-F238E27FC236}">
                <a16:creationId xmlns:a16="http://schemas.microsoft.com/office/drawing/2014/main" id="{6220CE35-BAB0-4338-A94F-FA38BB06158B}"/>
              </a:ext>
            </a:extLst>
          </p:cNvPr>
          <p:cNvSpPr/>
          <p:nvPr/>
        </p:nvSpPr>
        <p:spPr bwMode="auto">
          <a:xfrm rot="5400000">
            <a:off x="688932" y="2852872"/>
            <a:ext cx="914400" cy="1716239"/>
          </a:xfrm>
          <a:prstGeom prst="chevron">
            <a:avLst>
              <a:gd name="adj" fmla="val 20000"/>
            </a:avLst>
          </a:prstGeom>
          <a:solidFill>
            <a:srgbClr val="3E3E6D"/>
          </a:solidFill>
          <a:ln w="6350" cap="flat" cmpd="sng" algn="ctr">
            <a:noFill/>
            <a:prstDash val="solid"/>
            <a:round/>
            <a:headEnd type="none" w="med" len="med"/>
            <a:tailEnd type="none" w="med" len="med"/>
          </a:ln>
          <a:effectLst/>
        </p:spPr>
        <p:txBody>
          <a:bodyPr vert="vert270" wrap="square" lIns="45720" tIns="45720" rIns="45720" bIns="45720" numCol="1" rtlCol="0" anchor="ctr" anchorCtr="0" compatLnSpc="1">
            <a:prstTxWarp prst="textNoShape">
              <a:avLst/>
            </a:prstTxWarp>
          </a:bodyPr>
          <a:lstStyle/>
          <a:p>
            <a:pPr algn="ctr">
              <a:lnSpc>
                <a:spcPct val="90000"/>
              </a:lnSpc>
            </a:pPr>
            <a:r>
              <a:rPr lang="en-US" sz="1600" b="1" dirty="0">
                <a:solidFill>
                  <a:schemeClr val="bg1"/>
                </a:solidFill>
                <a:latin typeface="Arial" pitchFamily="-108" charset="0"/>
              </a:rPr>
              <a:t>2. Report</a:t>
            </a:r>
          </a:p>
        </p:txBody>
      </p:sp>
      <p:sp>
        <p:nvSpPr>
          <p:cNvPr id="32" name="Chevron 19">
            <a:extLst>
              <a:ext uri="{FF2B5EF4-FFF2-40B4-BE49-F238E27FC236}">
                <a16:creationId xmlns:a16="http://schemas.microsoft.com/office/drawing/2014/main" id="{91C44586-5220-463A-95C2-89DA7F328643}"/>
              </a:ext>
            </a:extLst>
          </p:cNvPr>
          <p:cNvSpPr/>
          <p:nvPr/>
        </p:nvSpPr>
        <p:spPr bwMode="auto">
          <a:xfrm rot="5400000">
            <a:off x="677802" y="3768576"/>
            <a:ext cx="914400" cy="1688207"/>
          </a:xfrm>
          <a:prstGeom prst="chevron">
            <a:avLst>
              <a:gd name="adj" fmla="val 20000"/>
            </a:avLst>
          </a:prstGeom>
          <a:solidFill>
            <a:srgbClr val="3E3E6D"/>
          </a:solidFill>
          <a:ln w="6350" cap="flat" cmpd="sng" algn="ctr">
            <a:noFill/>
            <a:prstDash val="solid"/>
            <a:round/>
            <a:headEnd type="none" w="med" len="med"/>
            <a:tailEnd type="none" w="med" len="med"/>
          </a:ln>
          <a:effectLst/>
        </p:spPr>
        <p:txBody>
          <a:bodyPr vert="vert270" wrap="square" lIns="45720" tIns="45720" rIns="45720" bIns="45720" numCol="1" rtlCol="0" anchor="ctr" anchorCtr="0" compatLnSpc="1">
            <a:prstTxWarp prst="textNoShape">
              <a:avLst/>
            </a:prstTxWarp>
          </a:bodyPr>
          <a:lstStyle/>
          <a:p>
            <a:pPr algn="ctr">
              <a:lnSpc>
                <a:spcPct val="90000"/>
              </a:lnSpc>
            </a:pPr>
            <a:r>
              <a:rPr lang="en-US" sz="1600" b="1" dirty="0">
                <a:solidFill>
                  <a:schemeClr val="bg1"/>
                </a:solidFill>
                <a:latin typeface="Arial" pitchFamily="-108" charset="0"/>
              </a:rPr>
              <a:t>3. Review &amp; Revise</a:t>
            </a:r>
          </a:p>
        </p:txBody>
      </p:sp>
      <p:pic>
        <p:nvPicPr>
          <p:cNvPr id="34" name="Graphic 33" descr="Group with solid fill">
            <a:extLst>
              <a:ext uri="{FF2B5EF4-FFF2-40B4-BE49-F238E27FC236}">
                <a16:creationId xmlns:a16="http://schemas.microsoft.com/office/drawing/2014/main" id="{A01CE7C2-F4F2-47BD-8C18-D5BB8086CD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3410" y="2284169"/>
            <a:ext cx="1442298" cy="1442298"/>
          </a:xfrm>
          <a:prstGeom prst="rect">
            <a:avLst/>
          </a:prstGeom>
        </p:spPr>
      </p:pic>
      <p:pic>
        <p:nvPicPr>
          <p:cNvPr id="36" name="Graphic 35" descr="Group of men with solid fill">
            <a:extLst>
              <a:ext uri="{FF2B5EF4-FFF2-40B4-BE49-F238E27FC236}">
                <a16:creationId xmlns:a16="http://schemas.microsoft.com/office/drawing/2014/main" id="{5E2536AE-A0D7-45E6-BCEC-B3334372FF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64559" y="4035738"/>
            <a:ext cx="1080000" cy="1080000"/>
          </a:xfrm>
          <a:prstGeom prst="rect">
            <a:avLst/>
          </a:prstGeom>
        </p:spPr>
      </p:pic>
      <p:pic>
        <p:nvPicPr>
          <p:cNvPr id="38" name="Graphic 37" descr="Coins with solid fill">
            <a:extLst>
              <a:ext uri="{FF2B5EF4-FFF2-40B4-BE49-F238E27FC236}">
                <a16:creationId xmlns:a16="http://schemas.microsoft.com/office/drawing/2014/main" id="{0CFBC527-3C45-4D59-856A-EFAD1227AD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48760" y="5444232"/>
            <a:ext cx="914400" cy="914400"/>
          </a:xfrm>
          <a:prstGeom prst="rect">
            <a:avLst/>
          </a:prstGeom>
        </p:spPr>
      </p:pic>
      <p:pic>
        <p:nvPicPr>
          <p:cNvPr id="55" name="Picture 54" descr="Two business people communicating">
            <a:extLst>
              <a:ext uri="{FF2B5EF4-FFF2-40B4-BE49-F238E27FC236}">
                <a16:creationId xmlns:a16="http://schemas.microsoft.com/office/drawing/2014/main" id="{65D11D8F-2FC1-4E56-85B1-7F540AB2F7F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6225" y="5291090"/>
            <a:ext cx="2148036" cy="1431675"/>
          </a:xfrm>
          <a:prstGeom prst="rect">
            <a:avLst/>
          </a:prstGeom>
        </p:spPr>
      </p:pic>
      <p:sp>
        <p:nvSpPr>
          <p:cNvPr id="17" name="Rectangle 4">
            <a:extLst>
              <a:ext uri="{FF2B5EF4-FFF2-40B4-BE49-F238E27FC236}">
                <a16:creationId xmlns:a16="http://schemas.microsoft.com/office/drawing/2014/main" id="{A5A5D560-DACF-42E5-B2B6-DE23C0E9ADBC}"/>
              </a:ext>
            </a:extLst>
          </p:cNvPr>
          <p:cNvSpPr>
            <a:spLocks noChangeArrowheads="1"/>
          </p:cNvSpPr>
          <p:nvPr/>
        </p:nvSpPr>
        <p:spPr bwMode="gray">
          <a:xfrm>
            <a:off x="6625708" y="2237034"/>
            <a:ext cx="3300035" cy="4582866"/>
          </a:xfrm>
          <a:prstGeom prst="rect">
            <a:avLst/>
          </a:prstGeom>
          <a:noFill/>
          <a:ln w="6350">
            <a:noFill/>
            <a:miter lim="800000"/>
            <a:headEnd/>
            <a:tailEnd/>
          </a:ln>
        </p:spPr>
        <p:txBody>
          <a:bodyPr lIns="45720" tIns="45720" rIns="45720" bIns="45720"/>
          <a:lstStyle/>
          <a:p>
            <a:pPr marL="285750" indent="-285750" defTabSz="502920">
              <a:buClr>
                <a:srgbClr val="0000FF"/>
              </a:buClr>
              <a:buFont typeface="Wingdings" panose="05000000000000000000" pitchFamily="2" charset="2"/>
              <a:buChar char="§"/>
            </a:pPr>
            <a:endParaRPr lang="en-US" altLang="en-US" sz="1400" dirty="0">
              <a:solidFill>
                <a:prstClr val="black"/>
              </a:solidFill>
            </a:endParaRPr>
          </a:p>
          <a:p>
            <a:pPr marL="285750" indent="-285750" defTabSz="502920">
              <a:buClr>
                <a:srgbClr val="0000FF"/>
              </a:buClr>
              <a:buFont typeface="Wingdings" panose="05000000000000000000" pitchFamily="2" charset="2"/>
              <a:buChar char="§"/>
            </a:pPr>
            <a:r>
              <a:rPr lang="en-US" altLang="en-US" sz="1400" dirty="0">
                <a:solidFill>
                  <a:prstClr val="black"/>
                </a:solidFill>
              </a:rPr>
              <a:t>Annual hire: 30-40</a:t>
            </a: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Support provided</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Full-time embedded specialist</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Project Manager</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SME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Multi-site discounts available</a:t>
            </a:r>
          </a:p>
          <a:p>
            <a:pPr marL="285750" indent="-285750" defTabSz="502920">
              <a:buClr>
                <a:srgbClr val="0000FF"/>
              </a:buClr>
              <a:buFont typeface="Wingdings" panose="05000000000000000000" pitchFamily="2" charset="2"/>
              <a:buChar char="§"/>
            </a:pPr>
            <a:endParaRPr lang="en-US" altLang="en-US" sz="1400" dirty="0">
              <a:solidFill>
                <a:prstClr val="black"/>
              </a:solidFill>
            </a:endParaRPr>
          </a:p>
          <a:p>
            <a:pPr marL="285750" indent="-285750" defTabSz="502920">
              <a:buClr>
                <a:srgbClr val="0000FF"/>
              </a:buClr>
              <a:buFont typeface="Wingdings" panose="05000000000000000000" pitchFamily="2" charset="2"/>
              <a:buChar char="§"/>
            </a:pPr>
            <a:r>
              <a:rPr lang="en-US" altLang="en-US" sz="1400" dirty="0">
                <a:solidFill>
                  <a:prstClr val="black"/>
                </a:solidFill>
              </a:rPr>
              <a:t>Annual hire: 15-29</a:t>
            </a: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Support provided</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Part-time embedded specialist</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Project Manager</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SMEs</a:t>
            </a:r>
          </a:p>
          <a:p>
            <a:pPr marL="285750" indent="-285750" defTabSz="502920">
              <a:buClr>
                <a:srgbClr val="0000FF"/>
              </a:buClr>
              <a:buSzPct val="100000"/>
              <a:buFont typeface="Wingdings" panose="05000000000000000000" pitchFamily="2" charset="2"/>
              <a:buChar char="§"/>
            </a:pPr>
            <a:endParaRPr lang="en-US" altLang="en-US" sz="1400" dirty="0">
              <a:solidFill>
                <a:prstClr val="black"/>
              </a:solidFill>
            </a:endParaRP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ROI cost neutral methodology</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Tax credits</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Turnover reduction</a:t>
            </a:r>
          </a:p>
          <a:p>
            <a:pPr marL="620713" lvl="1" indent="-285750" defTabSz="502920">
              <a:buClr>
                <a:srgbClr val="0000FF"/>
              </a:buClr>
              <a:buSzPct val="100000"/>
              <a:buFont typeface="Arial" panose="020B0604020202020204" pitchFamily="34" charset="0"/>
              <a:buChar char="‒"/>
              <a:defRPr/>
            </a:pPr>
            <a:r>
              <a:rPr lang="en-US" altLang="en-US" sz="1400" dirty="0">
                <a:solidFill>
                  <a:prstClr val="black"/>
                </a:solidFill>
              </a:rPr>
              <a:t>More competitively priced with higher retention than staffing firms</a:t>
            </a:r>
          </a:p>
        </p:txBody>
      </p:sp>
      <p:pic>
        <p:nvPicPr>
          <p:cNvPr id="9" name="Picture 9" descr="Diagram&#10;&#10;Description automatically generated">
            <a:extLst>
              <a:ext uri="{FF2B5EF4-FFF2-40B4-BE49-F238E27FC236}">
                <a16:creationId xmlns:a16="http://schemas.microsoft.com/office/drawing/2014/main" id="{A5EE6177-024C-4783-994B-3617AB755754}"/>
              </a:ext>
            </a:extLst>
          </p:cNvPr>
          <p:cNvPicPr>
            <a:picLocks noChangeAspect="1"/>
          </p:cNvPicPr>
          <p:nvPr/>
        </p:nvPicPr>
        <p:blipFill>
          <a:blip r:embed="rId13"/>
          <a:stretch>
            <a:fillRect/>
          </a:stretch>
        </p:blipFill>
        <p:spPr>
          <a:xfrm>
            <a:off x="2918215" y="5294328"/>
            <a:ext cx="1980478" cy="1448545"/>
          </a:xfrm>
          <a:prstGeom prst="rect">
            <a:avLst/>
          </a:prstGeom>
        </p:spPr>
      </p:pic>
      <p:sp>
        <p:nvSpPr>
          <p:cNvPr id="7" name="Rectangle 6">
            <a:extLst>
              <a:ext uri="{FF2B5EF4-FFF2-40B4-BE49-F238E27FC236}">
                <a16:creationId xmlns:a16="http://schemas.microsoft.com/office/drawing/2014/main" id="{AED5A3EF-2863-4AB6-9955-BA448212559E}"/>
              </a:ext>
            </a:extLst>
          </p:cNvPr>
          <p:cNvSpPr/>
          <p:nvPr/>
        </p:nvSpPr>
        <p:spPr>
          <a:xfrm>
            <a:off x="5183410" y="2251548"/>
            <a:ext cx="245006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6B1CFE7-0E80-4CB0-BCFA-5B3031658A8D}"/>
              </a:ext>
            </a:extLst>
          </p:cNvPr>
          <p:cNvSpPr/>
          <p:nvPr/>
        </p:nvSpPr>
        <p:spPr>
          <a:xfrm>
            <a:off x="303467" y="2246359"/>
            <a:ext cx="2450065" cy="49891"/>
          </a:xfrm>
          <a:prstGeom prst="rect">
            <a:avLst/>
          </a:prstGeom>
          <a:solidFill>
            <a:srgbClr val="00F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816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B196DDC-59FC-4BD3-8635-CE498BCC917C}"/>
              </a:ext>
            </a:extLst>
          </p:cNvPr>
          <p:cNvSpPr/>
          <p:nvPr/>
        </p:nvSpPr>
        <p:spPr bwMode="auto">
          <a:xfrm>
            <a:off x="276225" y="3735896"/>
            <a:ext cx="9469439" cy="576065"/>
          </a:xfrm>
          <a:prstGeom prst="rect">
            <a:avLst/>
          </a:prstGeom>
          <a:solidFill>
            <a:srgbClr val="00FF00"/>
          </a:solidFill>
          <a:ln w="9525" cap="flat" cmpd="sng" algn="ctr">
            <a:solidFill>
              <a:srgbClr val="00FF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86995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a:ln>
                <a:noFill/>
              </a:ln>
              <a:solidFill>
                <a:srgbClr val="000000"/>
              </a:solidFill>
              <a:effectLst/>
              <a:latin typeface="Arial" charset="0"/>
            </a:endParaRPr>
          </a:p>
        </p:txBody>
      </p:sp>
      <p:sp>
        <p:nvSpPr>
          <p:cNvPr id="9" name="Rectangle 3"/>
          <p:cNvSpPr txBox="1">
            <a:spLocks noChangeArrowheads="1"/>
          </p:cNvSpPr>
          <p:nvPr/>
        </p:nvSpPr>
        <p:spPr bwMode="black">
          <a:xfrm>
            <a:off x="1061032" y="2370063"/>
            <a:ext cx="7936336" cy="3385542"/>
          </a:xfrm>
          <a:prstGeom prst="rect">
            <a:avLst/>
          </a:prstGeom>
          <a:noFill/>
          <a:ln w="12700">
            <a:noFill/>
            <a:miter lim="800000"/>
            <a:headEnd/>
            <a:tailEnd/>
          </a:ln>
        </p:spPr>
        <p:txBody>
          <a:bodyPr vert="horz" wrap="square" lIns="0" tIns="0" rIns="0" bIns="0" numCol="1" anchor="t" anchorCtr="1" compatLnSpc="1">
            <a:prstTxWarp prst="textNoShape">
              <a:avLst/>
            </a:prstTxWarp>
            <a:spAutoFit/>
          </a:bodyPr>
          <a:lstStyle>
            <a:lvl1pPr marL="230188" indent="-230188" algn="l" defTabSz="887413" rtl="0" eaLnBrk="1" fontAlgn="base" hangingPunct="1">
              <a:spcBef>
                <a:spcPct val="0"/>
              </a:spcBef>
              <a:spcAft>
                <a:spcPct val="0"/>
              </a:spcAft>
              <a:buClr>
                <a:srgbClr val="003399"/>
              </a:buClr>
              <a:buSzPct val="100000"/>
              <a:buFont typeface="Wingdings" pitchFamily="2" charset="2"/>
              <a:buChar char="n"/>
              <a:defRPr sz="1600">
                <a:solidFill>
                  <a:schemeClr val="tx1"/>
                </a:solidFill>
                <a:latin typeface="+mn-lt"/>
                <a:ea typeface="+mn-ea"/>
                <a:cs typeface="+mn-cs"/>
              </a:defRPr>
            </a:lvl1pPr>
            <a:lvl2pPr marL="407988" indent="-1762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2pPr>
            <a:lvl3pPr marL="576263" indent="-165100"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3pPr>
            <a:lvl4pPr marL="712788" indent="-134938" algn="l" defTabSz="887413" rtl="0" eaLnBrk="1" fontAlgn="base" hangingPunct="1">
              <a:spcBef>
                <a:spcPct val="0"/>
              </a:spcBef>
              <a:spcAft>
                <a:spcPct val="0"/>
              </a:spcAft>
              <a:buClr>
                <a:srgbClr val="003399"/>
              </a:buClr>
              <a:buSzPct val="100000"/>
              <a:buFont typeface="Times New Roman" pitchFamily="18" charset="0"/>
              <a:buChar char="-"/>
              <a:defRPr sz="1600">
                <a:solidFill>
                  <a:schemeClr val="tx1"/>
                </a:solidFill>
                <a:latin typeface="+mn-lt"/>
                <a:cs typeface="+mn-cs"/>
              </a:defRPr>
            </a:lvl4pPr>
            <a:lvl5pPr marL="827088" indent="1001713" algn="l" defTabSz="887413" rtl="0" eaLnBrk="1" fontAlgn="base" hangingPunct="1">
              <a:spcBef>
                <a:spcPct val="0"/>
              </a:spcBef>
              <a:spcAft>
                <a:spcPct val="0"/>
              </a:spcAft>
              <a:buClr>
                <a:srgbClr val="003399"/>
              </a:buClr>
              <a:buSzPct val="100000"/>
              <a:buChar char="•"/>
              <a:defRPr sz="1600">
                <a:solidFill>
                  <a:schemeClr val="tx1"/>
                </a:solidFill>
                <a:latin typeface="+mn-lt"/>
                <a:cs typeface="+mn-cs"/>
              </a:defRPr>
            </a:lvl5pPr>
            <a:lvl6pPr marL="12842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6pPr>
            <a:lvl7pPr marL="17414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7pPr>
            <a:lvl8pPr marL="21986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8pPr>
            <a:lvl9pPr marL="2655888" algn="l" defTabSz="887413" rtl="0" eaLnBrk="1" fontAlgn="base" hangingPunct="1">
              <a:spcBef>
                <a:spcPct val="0"/>
              </a:spcBef>
              <a:spcAft>
                <a:spcPct val="0"/>
              </a:spcAft>
              <a:buClr>
                <a:srgbClr val="003399"/>
              </a:buClr>
              <a:buSzPct val="100000"/>
              <a:buChar char="•"/>
              <a:defRPr sz="1700">
                <a:solidFill>
                  <a:schemeClr val="tx1"/>
                </a:solidFill>
                <a:latin typeface="+mn-lt"/>
                <a:cs typeface="+mn-cs"/>
              </a:defRPr>
            </a:lvl9pPr>
          </a:lstStyle>
          <a:p>
            <a:pPr marL="0" indent="0">
              <a:buNone/>
            </a:pPr>
            <a:endParaRPr lang="en-US" sz="2000" kern="0" dirty="0"/>
          </a:p>
          <a:p>
            <a:pPr>
              <a:buClr>
                <a:srgbClr val="0000FF"/>
              </a:buClr>
              <a:buFont typeface="Wingdings" panose="05000000000000000000" pitchFamily="2" charset="2"/>
              <a:buChar char="§"/>
            </a:pPr>
            <a:r>
              <a:rPr lang="en-US" sz="2000" kern="0" dirty="0"/>
              <a:t>Introduc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ject Framework</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Proactive Resolution</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ase Studies</a:t>
            </a:r>
          </a:p>
          <a:p>
            <a:pPr>
              <a:buClr>
                <a:srgbClr val="0000FF"/>
              </a:buClr>
              <a:buFont typeface="Wingdings" panose="05000000000000000000" pitchFamily="2" charset="2"/>
              <a:buChar char="§"/>
            </a:pPr>
            <a:endParaRPr lang="en-US" sz="2000" kern="0" dirty="0"/>
          </a:p>
          <a:p>
            <a:pPr>
              <a:buClr>
                <a:srgbClr val="0000FF"/>
              </a:buClr>
              <a:buFont typeface="Wingdings" panose="05000000000000000000" pitchFamily="2" charset="2"/>
              <a:buChar char="§"/>
            </a:pPr>
            <a:r>
              <a:rPr lang="en-US" sz="2000" kern="0" dirty="0"/>
              <a:t>Customer Portfolio</a:t>
            </a:r>
          </a:p>
          <a:p>
            <a:pPr marL="0" indent="0">
              <a:buNone/>
            </a:pPr>
            <a:endParaRPr lang="en-US" sz="2000" kern="0" dirty="0"/>
          </a:p>
        </p:txBody>
      </p:sp>
      <p:sp>
        <p:nvSpPr>
          <p:cNvPr id="6" name="Title 5">
            <a:extLst>
              <a:ext uri="{FF2B5EF4-FFF2-40B4-BE49-F238E27FC236}">
                <a16:creationId xmlns:a16="http://schemas.microsoft.com/office/drawing/2014/main" id="{B2CB34CC-D576-4B1A-9D37-90AFD89BF0B3}"/>
              </a:ext>
            </a:extLst>
          </p:cNvPr>
          <p:cNvSpPr>
            <a:spLocks noGrp="1"/>
          </p:cNvSpPr>
          <p:nvPr>
            <p:ph type="title"/>
          </p:nvPr>
        </p:nvSpPr>
        <p:spPr>
          <a:xfrm>
            <a:off x="306388" y="457200"/>
            <a:ext cx="9447212" cy="442913"/>
          </a:xfrm>
        </p:spPr>
        <p:txBody>
          <a:bodyPr vert="horz"/>
          <a:lstStyle/>
          <a:p>
            <a:r>
              <a:rPr lang="en-US" dirty="0"/>
              <a:t>Agenda</a:t>
            </a:r>
          </a:p>
        </p:txBody>
      </p:sp>
    </p:spTree>
    <p:extLst>
      <p:ext uri="{BB962C8B-B14F-4D97-AF65-F5344CB8AC3E}">
        <p14:creationId xmlns:p14="http://schemas.microsoft.com/office/powerpoint/2010/main" val="171048006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8AD01D-7829-424C-B9DD-8F8EFFB212FC}"/>
              </a:ext>
            </a:extLst>
          </p:cNvPr>
          <p:cNvGraphicFramePr>
            <a:graphicFrameLocks noChangeAspect="1"/>
          </p:cNvGraphicFramePr>
          <p:nvPr>
            <p:custDataLst>
              <p:tags r:id="rId2"/>
            </p:custDataLst>
            <p:extLst>
              <p:ext uri="{D42A27DB-BD31-4B8C-83A1-F6EECF244321}">
                <p14:modId xmlns:p14="http://schemas.microsoft.com/office/powerpoint/2010/main" val="132385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4" imgW="421" imgH="420" progId="TCLayout.ActiveDocument.1">
                  <p:embed/>
                </p:oleObj>
              </mc:Choice>
              <mc:Fallback>
                <p:oleObj name="think-cell Slide" r:id="rId4" imgW="421" imgH="420" progId="TCLayout.ActiveDocument.1">
                  <p:embed/>
                  <p:pic>
                    <p:nvPicPr>
                      <p:cNvPr id="7" name="Object 6" hidden="1">
                        <a:extLst>
                          <a:ext uri="{FF2B5EF4-FFF2-40B4-BE49-F238E27FC236}">
                            <a16:creationId xmlns:a16="http://schemas.microsoft.com/office/drawing/2014/main" id="{A58AD01D-7829-424C-B9DD-8F8EFFB212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CA2C2A-0506-4AA8-8492-B6D4DE862604}"/>
              </a:ext>
            </a:extLst>
          </p:cNvPr>
          <p:cNvSpPr>
            <a:spLocks noGrp="1"/>
          </p:cNvSpPr>
          <p:nvPr>
            <p:ph type="title"/>
          </p:nvPr>
        </p:nvSpPr>
        <p:spPr/>
        <p:txBody>
          <a:bodyPr vert="horz"/>
          <a:lstStyle/>
          <a:p>
            <a:r>
              <a:rPr lang="en-US" dirty="0"/>
              <a:t>Proactive Resolution: </a:t>
            </a:r>
            <a:r>
              <a:rPr lang="en-US" b="0" i="1" dirty="0"/>
              <a:t>Common Concerns (1/3)</a:t>
            </a:r>
            <a:endParaRPr lang="en-US" dirty="0"/>
          </a:p>
        </p:txBody>
      </p:sp>
      <p:sp>
        <p:nvSpPr>
          <p:cNvPr id="4" name="Text Placeholder 3">
            <a:extLst>
              <a:ext uri="{FF2B5EF4-FFF2-40B4-BE49-F238E27FC236}">
                <a16:creationId xmlns:a16="http://schemas.microsoft.com/office/drawing/2014/main" id="{4DBB1669-1586-49AE-ACF0-E762EC31715F}"/>
              </a:ext>
            </a:extLst>
          </p:cNvPr>
          <p:cNvSpPr>
            <a:spLocks noGrp="1"/>
          </p:cNvSpPr>
          <p:nvPr>
            <p:ph type="body" sz="quarter" idx="13"/>
          </p:nvPr>
        </p:nvSpPr>
        <p:spPr/>
        <p:txBody>
          <a:bodyPr/>
          <a:lstStyle/>
          <a:p>
            <a:r>
              <a:rPr lang="en-US" dirty="0"/>
              <a:t>General Questions about Potential Liability and Legal Issues</a:t>
            </a:r>
          </a:p>
          <a:p>
            <a:endParaRPr lang="en-US" dirty="0"/>
          </a:p>
        </p:txBody>
      </p:sp>
      <p:graphicFrame>
        <p:nvGraphicFramePr>
          <p:cNvPr id="5" name="Table 12">
            <a:extLst>
              <a:ext uri="{FF2B5EF4-FFF2-40B4-BE49-F238E27FC236}">
                <a16:creationId xmlns:a16="http://schemas.microsoft.com/office/drawing/2014/main" id="{5263DBC7-36E7-4FAB-8A46-3F6D6E8EB9B6}"/>
              </a:ext>
            </a:extLst>
          </p:cNvPr>
          <p:cNvGraphicFramePr>
            <a:graphicFrameLocks noGrp="1"/>
          </p:cNvGraphicFramePr>
          <p:nvPr>
            <p:extLst>
              <p:ext uri="{D42A27DB-BD31-4B8C-83A1-F6EECF244321}">
                <p14:modId xmlns:p14="http://schemas.microsoft.com/office/powerpoint/2010/main" val="3935793227"/>
              </p:ext>
            </p:extLst>
          </p:nvPr>
        </p:nvGraphicFramePr>
        <p:xfrm>
          <a:off x="313522" y="1695429"/>
          <a:ext cx="9431357" cy="5336263"/>
        </p:xfrm>
        <a:graphic>
          <a:graphicData uri="http://schemas.openxmlformats.org/drawingml/2006/table">
            <a:tbl>
              <a:tblPr firstRow="1" bandRow="1">
                <a:tableStyleId>{5C22544A-7EE6-4342-B048-85BDC9FD1C3A}</a:tableStyleId>
              </a:tblPr>
              <a:tblGrid>
                <a:gridCol w="1012854">
                  <a:extLst>
                    <a:ext uri="{9D8B030D-6E8A-4147-A177-3AD203B41FA5}">
                      <a16:colId xmlns:a16="http://schemas.microsoft.com/office/drawing/2014/main" val="1359353289"/>
                    </a:ext>
                  </a:extLst>
                </a:gridCol>
                <a:gridCol w="3990856">
                  <a:extLst>
                    <a:ext uri="{9D8B030D-6E8A-4147-A177-3AD203B41FA5}">
                      <a16:colId xmlns:a16="http://schemas.microsoft.com/office/drawing/2014/main" val="324897474"/>
                    </a:ext>
                  </a:extLst>
                </a:gridCol>
                <a:gridCol w="4427647">
                  <a:extLst>
                    <a:ext uri="{9D8B030D-6E8A-4147-A177-3AD203B41FA5}">
                      <a16:colId xmlns:a16="http://schemas.microsoft.com/office/drawing/2014/main" val="84815540"/>
                    </a:ext>
                  </a:extLst>
                </a:gridCol>
              </a:tblGrid>
              <a:tr h="368023">
                <a:tc>
                  <a:txBody>
                    <a:bodyPr/>
                    <a:lstStyle/>
                    <a:p>
                      <a:endParaRPr lang="en-US" dirty="0"/>
                    </a:p>
                  </a:txBody>
                  <a:tcP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Liability Management</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endParaRPr>
                    </a:p>
                  </a:txBody>
                  <a:tcPr>
                    <a:lnB w="12700" cap="flat" cmpd="sng" algn="ctr">
                      <a:solidFill>
                        <a:schemeClr val="tx1"/>
                      </a:solidFill>
                      <a:prstDash val="solid"/>
                      <a:round/>
                      <a:headEnd type="none" w="med" len="med"/>
                      <a:tailEnd type="none" w="med" len="med"/>
                    </a:lnB>
                    <a:solidFill>
                      <a:srgbClr val="3E3E6D"/>
                    </a:solidFill>
                  </a:tcPr>
                </a:tc>
                <a:tc>
                  <a:txBody>
                    <a:bodyPr/>
                    <a:lstStyle/>
                    <a:p>
                      <a:pPr algn="ctr"/>
                      <a:r>
                        <a:rPr lang="en-US" sz="1600" dirty="0"/>
                        <a:t>Legal Oversight</a:t>
                      </a:r>
                    </a:p>
                  </a:txBody>
                  <a:tcPr>
                    <a:lnB w="12700" cap="flat" cmpd="sng" algn="ctr">
                      <a:solidFill>
                        <a:schemeClr val="tx1"/>
                      </a:solidFill>
                      <a:prstDash val="solid"/>
                      <a:round/>
                      <a:headEnd type="none" w="med" len="med"/>
                      <a:tailEnd type="none" w="med" len="med"/>
                    </a:lnB>
                    <a:solidFill>
                      <a:srgbClr val="3E3E6D"/>
                    </a:solidFill>
                  </a:tcPr>
                </a:tc>
                <a:extLst>
                  <a:ext uri="{0D108BD9-81ED-4DB2-BD59-A6C34878D82A}">
                    <a16:rowId xmlns:a16="http://schemas.microsoft.com/office/drawing/2014/main" val="3026894624"/>
                  </a:ext>
                </a:extLst>
              </a:tr>
              <a:tr h="592324">
                <a:tc>
                  <a:txBody>
                    <a:bodyPr/>
                    <a:lstStyle/>
                    <a:p>
                      <a:r>
                        <a:rPr lang="en-US" sz="1400" dirty="0"/>
                        <a:t>Ques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t>What methods are used to reduce and manage lia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t>What type of legal concerns have brought up with previous customers and how have they been resol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9924966"/>
                  </a:ext>
                </a:extLst>
              </a:tr>
              <a:tr h="1509161">
                <a:tc>
                  <a:txBody>
                    <a:bodyPr/>
                    <a:lstStyle/>
                    <a:p>
                      <a:r>
                        <a:rPr lang="en-US"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JEC is not the employer, we assist our Customers to hire alternative candidates we source</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JEC-sourced candidates are held to the same standards and processes as all other employees</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Embedded JEC staff are covered by JEC insur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defTabSz="502920">
                        <a:buClr>
                          <a:srgbClr val="0000FF"/>
                        </a:buClr>
                        <a:buFont typeface="Wingdings" panose="05000000000000000000" pitchFamily="2" charset="2"/>
                        <a:buNone/>
                      </a:pPr>
                      <a:r>
                        <a:rPr lang="en-US" altLang="en-US" sz="1400" dirty="0">
                          <a:solidFill>
                            <a:prstClr val="black"/>
                          </a:solidFill>
                        </a:rPr>
                        <a:t>We see the typical legal concerns as a contractor:</a:t>
                      </a:r>
                    </a:p>
                    <a:p>
                      <a:pPr marL="285750" indent="-285750" defTabSz="502920">
                        <a:buClr>
                          <a:srgbClr val="0000FF"/>
                        </a:buClr>
                        <a:buFont typeface="Wingdings" panose="05000000000000000000" pitchFamily="2" charset="2"/>
                        <a:buChar char="§"/>
                      </a:pPr>
                      <a:r>
                        <a:rPr lang="en-US" altLang="en-US" sz="1400" dirty="0">
                          <a:solidFill>
                            <a:prstClr val="black"/>
                          </a:solidFill>
                        </a:rPr>
                        <a:t>JEC signs NDA with Customer</a:t>
                      </a:r>
                    </a:p>
                    <a:p>
                      <a:pPr marL="285750" indent="-285750" defTabSz="502920">
                        <a:buClr>
                          <a:srgbClr val="0000FF"/>
                        </a:buClr>
                        <a:buFont typeface="Wingdings" panose="05000000000000000000" pitchFamily="2" charset="2"/>
                        <a:buChar char="§"/>
                      </a:pPr>
                      <a:r>
                        <a:rPr lang="en-US" altLang="en-US" sz="1400" dirty="0">
                          <a:solidFill>
                            <a:prstClr val="black"/>
                          </a:solidFill>
                        </a:rPr>
                        <a:t>MSA &amp; clear SOW between JEC &amp; Customer outline project and possible concerns</a:t>
                      </a:r>
                    </a:p>
                    <a:p>
                      <a:pPr marL="0" marR="0" lvl="0" indent="0" algn="l" defTabSz="502920" rtl="0" eaLnBrk="1" fontAlgn="auto" latinLnBrk="0" hangingPunct="1">
                        <a:lnSpc>
                          <a:spcPct val="100000"/>
                        </a:lnSpc>
                        <a:spcBef>
                          <a:spcPts val="0"/>
                        </a:spcBef>
                        <a:spcAft>
                          <a:spcPts val="0"/>
                        </a:spcAft>
                        <a:buClr>
                          <a:srgbClr val="0000FF"/>
                        </a:buClr>
                        <a:buSzTx/>
                        <a:buFont typeface="Wingdings" panose="05000000000000000000" pitchFamily="2" charset="2"/>
                        <a:buNone/>
                        <a:tabLst/>
                        <a:defRPr/>
                      </a:pPr>
                      <a:r>
                        <a:rPr lang="en-US" altLang="en-US" sz="1400" dirty="0">
                          <a:solidFill>
                            <a:prstClr val="black"/>
                          </a:solidFill>
                        </a:rPr>
                        <a:t>Customer decides who is or isn’t hi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2204330"/>
                  </a:ext>
                </a:extLst>
              </a:tr>
              <a:tr h="0">
                <a:tc>
                  <a:txBody>
                    <a:bodyPr/>
                    <a:lstStyle/>
                    <a:p>
                      <a:r>
                        <a:rPr lang="en-US" sz="1400" dirty="0"/>
                        <a:t>Resu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defTabSz="502920">
                        <a:buClr>
                          <a:srgbClr val="0000FF"/>
                        </a:buClr>
                        <a:buFont typeface="Wingdings" panose="05000000000000000000" pitchFamily="2" charset="2"/>
                        <a:buChar char="§"/>
                      </a:pPr>
                      <a:r>
                        <a:rPr lang="en-US" altLang="en-US" sz="1400" dirty="0">
                          <a:solidFill>
                            <a:prstClr val="black"/>
                          </a:solidFill>
                        </a:rPr>
                        <a:t>JEC projects have created cost savings via:</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Improved safety</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charset="0"/>
                          <a:ea typeface="+mn-ea"/>
                          <a:cs typeface="Arial" charset="0"/>
                        </a:rPr>
                        <a:t>Reduced turnover</a:t>
                      </a:r>
                      <a:endParaRPr lang="en-US" altLang="en-US" sz="1400" dirty="0">
                        <a:solidFill>
                          <a:prstClr val="black"/>
                        </a:solidFill>
                      </a:endParaRPr>
                    </a:p>
                    <a:p>
                      <a:pPr marL="285750" indent="-285750" defTabSz="502920">
                        <a:buClr>
                          <a:srgbClr val="0000FF"/>
                        </a:buClr>
                        <a:buFont typeface="Wingdings" panose="05000000000000000000" pitchFamily="2" charset="2"/>
                        <a:buChar char="§"/>
                      </a:pPr>
                      <a:r>
                        <a:rPr lang="en-US" altLang="en-US" sz="1400" dirty="0">
                          <a:solidFill>
                            <a:prstClr val="black"/>
                          </a:solidFill>
                        </a:rPr>
                        <a:t>Everyone is evaluated the same:</a:t>
                      </a:r>
                    </a:p>
                    <a:p>
                      <a:pPr marL="620713" lvl="1" indent="-285750" defTabSz="502920">
                        <a:buClr>
                          <a:srgbClr val="0000FF"/>
                        </a:buClr>
                        <a:buSzPct val="100000"/>
                        <a:buFont typeface="Arial" panose="020B0604020202020204" pitchFamily="34" charset="0"/>
                        <a:buChar char="‒"/>
                      </a:pPr>
                      <a:r>
                        <a:rPr lang="en-US" altLang="en-US" sz="1400" dirty="0">
                          <a:solidFill>
                            <a:prstClr val="black"/>
                          </a:solidFill>
                        </a:rPr>
                        <a:t>Termination due to performance should use the exact same process as Customer employees</a:t>
                      </a:r>
                    </a:p>
                    <a:p>
                      <a:pPr marL="620713" lvl="1" indent="-285750" defTabSz="502920">
                        <a:buClr>
                          <a:srgbClr val="0000FF"/>
                        </a:buClr>
                        <a:buSzPct val="100000"/>
                        <a:buFont typeface="Arial" panose="020B0604020202020204" pitchFamily="34" charset="0"/>
                        <a:buChar char="‒"/>
                      </a:pPr>
                      <a:r>
                        <a:rPr lang="en-US" altLang="en-US" sz="1400" dirty="0">
                          <a:solidFill>
                            <a:prstClr val="black"/>
                          </a:solidFill>
                        </a:rPr>
                        <a:t>Metric for success is same</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kern="1200" dirty="0">
                          <a:solidFill>
                            <a:schemeClr val="dk1"/>
                          </a:solidFill>
                          <a:latin typeface="+mn-lt"/>
                          <a:ea typeface="+mn-ea"/>
                          <a:cs typeface="+mn-cs"/>
                        </a:rPr>
                        <a:t>JEC trains Customer to hire, train and manage JEC-sourced employees in the same manner as other employees</a:t>
                      </a:r>
                      <a:endParaRPr lang="en-US" alt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502920" rtl="0" eaLnBrk="1" fontAlgn="auto" latinLnBrk="0" hangingPunct="1">
                        <a:lnSpc>
                          <a:spcPct val="100000"/>
                        </a:lnSpc>
                        <a:spcBef>
                          <a:spcPts val="0"/>
                        </a:spcBef>
                        <a:spcAft>
                          <a:spcPts val="0"/>
                        </a:spcAft>
                        <a:buClr>
                          <a:srgbClr val="0000FF"/>
                        </a:buClr>
                        <a:buSzTx/>
                        <a:buFont typeface="Wingdings" panose="05000000000000000000" pitchFamily="2" charset="2"/>
                        <a:buNone/>
                        <a:tabLst/>
                        <a:defRPr/>
                      </a:pPr>
                      <a:r>
                        <a:rPr lang="en-US" altLang="en-US" sz="1400" dirty="0">
                          <a:solidFill>
                            <a:prstClr val="black"/>
                          </a:solidFill>
                        </a:rPr>
                        <a:t>Our customers have not encountered any legal concerns related to employing JEC-sourced individuals.  However, prior to being JEC we supported Walgreen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During our time working for Walgreens’ intentional efforts to employ people with disabilities, the stores faced claims of discrimination due to inaccessible areas of the stores.  The claims never went to court due to the demonstrated effort and success of the employment program</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0751830"/>
                  </a:ext>
                </a:extLst>
              </a:tr>
            </a:tbl>
          </a:graphicData>
        </a:graphic>
      </p:graphicFrame>
      <p:sp>
        <p:nvSpPr>
          <p:cNvPr id="8" name="Text Placeholder 4">
            <a:extLst>
              <a:ext uri="{FF2B5EF4-FFF2-40B4-BE49-F238E27FC236}">
                <a16:creationId xmlns:a16="http://schemas.microsoft.com/office/drawing/2014/main" id="{20E4BB12-9CC6-49D0-9F7A-E254E30F3A7F}"/>
              </a:ext>
            </a:extLst>
          </p:cNvPr>
          <p:cNvSpPr>
            <a:spLocks noGrp="1"/>
          </p:cNvSpPr>
          <p:nvPr>
            <p:ph type="body" sz="quarter" idx="11"/>
          </p:nvPr>
        </p:nvSpPr>
        <p:spPr>
          <a:xfrm>
            <a:off x="329184" y="7086600"/>
            <a:ext cx="8229600" cy="393192"/>
          </a:xfrm>
        </p:spPr>
        <p:txBody>
          <a:bodyPr/>
          <a:lstStyle/>
          <a:p>
            <a:r>
              <a:rPr lang="id-ID" dirty="0"/>
              <a:t>www.jamesemmettandcompany.com</a:t>
            </a:r>
          </a:p>
        </p:txBody>
      </p:sp>
      <p:pic>
        <p:nvPicPr>
          <p:cNvPr id="6" name="Graphic 5" descr="Customer review with solid fill">
            <a:extLst>
              <a:ext uri="{FF2B5EF4-FFF2-40B4-BE49-F238E27FC236}">
                <a16:creationId xmlns:a16="http://schemas.microsoft.com/office/drawing/2014/main" id="{2DD64824-3BF0-4CE2-B8CD-F09095490B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152" y="3087824"/>
            <a:ext cx="914400" cy="914400"/>
          </a:xfrm>
          <a:prstGeom prst="rect">
            <a:avLst/>
          </a:prstGeom>
        </p:spPr>
      </p:pic>
      <p:pic>
        <p:nvPicPr>
          <p:cNvPr id="12" name="Graphic 11" descr="Presentation with pie chart with solid fill">
            <a:extLst>
              <a:ext uri="{FF2B5EF4-FFF2-40B4-BE49-F238E27FC236}">
                <a16:creationId xmlns:a16="http://schemas.microsoft.com/office/drawing/2014/main" id="{BBC92404-07FC-4A0C-A432-3B7296C80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8152" y="4990160"/>
            <a:ext cx="914400" cy="914400"/>
          </a:xfrm>
          <a:prstGeom prst="rect">
            <a:avLst/>
          </a:prstGeom>
        </p:spPr>
      </p:pic>
    </p:spTree>
    <p:extLst>
      <p:ext uri="{BB962C8B-B14F-4D97-AF65-F5344CB8AC3E}">
        <p14:creationId xmlns:p14="http://schemas.microsoft.com/office/powerpoint/2010/main" val="1404993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8AD01D-7829-424C-B9DD-8F8EFFB212F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4" imgW="421" imgH="420" progId="TCLayout.ActiveDocument.1">
                  <p:embed/>
                </p:oleObj>
              </mc:Choice>
              <mc:Fallback>
                <p:oleObj name="think-cell Slide" r:id="rId4" imgW="421" imgH="420" progId="TCLayout.ActiveDocument.1">
                  <p:embed/>
                  <p:pic>
                    <p:nvPicPr>
                      <p:cNvPr id="7" name="Object 6" hidden="1">
                        <a:extLst>
                          <a:ext uri="{FF2B5EF4-FFF2-40B4-BE49-F238E27FC236}">
                            <a16:creationId xmlns:a16="http://schemas.microsoft.com/office/drawing/2014/main" id="{A58AD01D-7829-424C-B9DD-8F8EFFB212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CA2C2A-0506-4AA8-8492-B6D4DE862604}"/>
              </a:ext>
            </a:extLst>
          </p:cNvPr>
          <p:cNvSpPr>
            <a:spLocks noGrp="1"/>
          </p:cNvSpPr>
          <p:nvPr>
            <p:ph type="title"/>
          </p:nvPr>
        </p:nvSpPr>
        <p:spPr/>
        <p:txBody>
          <a:bodyPr vert="horz"/>
          <a:lstStyle/>
          <a:p>
            <a:r>
              <a:rPr lang="en-US" dirty="0"/>
              <a:t>Proactive Resolution: </a:t>
            </a:r>
            <a:r>
              <a:rPr lang="en-US" b="0" i="1" dirty="0"/>
              <a:t>Common Concerns (2/3)</a:t>
            </a:r>
            <a:endParaRPr lang="en-US" dirty="0"/>
          </a:p>
        </p:txBody>
      </p:sp>
      <p:sp>
        <p:nvSpPr>
          <p:cNvPr id="4" name="Text Placeholder 3">
            <a:extLst>
              <a:ext uri="{FF2B5EF4-FFF2-40B4-BE49-F238E27FC236}">
                <a16:creationId xmlns:a16="http://schemas.microsoft.com/office/drawing/2014/main" id="{4DBB1669-1586-49AE-ACF0-E762EC31715F}"/>
              </a:ext>
            </a:extLst>
          </p:cNvPr>
          <p:cNvSpPr>
            <a:spLocks noGrp="1"/>
          </p:cNvSpPr>
          <p:nvPr>
            <p:ph type="body" sz="quarter" idx="13"/>
          </p:nvPr>
        </p:nvSpPr>
        <p:spPr/>
        <p:txBody>
          <a:bodyPr/>
          <a:lstStyle/>
          <a:p>
            <a:r>
              <a:rPr lang="en-US" dirty="0"/>
              <a:t>General Questions about Accommodations and Staff Training Requirements</a:t>
            </a:r>
          </a:p>
          <a:p>
            <a:endParaRPr lang="en-US" dirty="0"/>
          </a:p>
        </p:txBody>
      </p:sp>
      <p:graphicFrame>
        <p:nvGraphicFramePr>
          <p:cNvPr id="5" name="Table 12">
            <a:extLst>
              <a:ext uri="{FF2B5EF4-FFF2-40B4-BE49-F238E27FC236}">
                <a16:creationId xmlns:a16="http://schemas.microsoft.com/office/drawing/2014/main" id="{5263DBC7-36E7-4FAB-8A46-3F6D6E8EB9B6}"/>
              </a:ext>
            </a:extLst>
          </p:cNvPr>
          <p:cNvGraphicFramePr>
            <a:graphicFrameLocks noGrp="1"/>
          </p:cNvGraphicFramePr>
          <p:nvPr>
            <p:extLst>
              <p:ext uri="{D42A27DB-BD31-4B8C-83A1-F6EECF244321}">
                <p14:modId xmlns:p14="http://schemas.microsoft.com/office/powerpoint/2010/main" val="3118105369"/>
              </p:ext>
            </p:extLst>
          </p:nvPr>
        </p:nvGraphicFramePr>
        <p:xfrm>
          <a:off x="313522" y="1695429"/>
          <a:ext cx="9431357" cy="5458183"/>
        </p:xfrm>
        <a:graphic>
          <a:graphicData uri="http://schemas.openxmlformats.org/drawingml/2006/table">
            <a:tbl>
              <a:tblPr firstRow="1" bandRow="1">
                <a:tableStyleId>{5C22544A-7EE6-4342-B048-85BDC9FD1C3A}</a:tableStyleId>
              </a:tblPr>
              <a:tblGrid>
                <a:gridCol w="1012854">
                  <a:extLst>
                    <a:ext uri="{9D8B030D-6E8A-4147-A177-3AD203B41FA5}">
                      <a16:colId xmlns:a16="http://schemas.microsoft.com/office/drawing/2014/main" val="1359353289"/>
                    </a:ext>
                  </a:extLst>
                </a:gridCol>
                <a:gridCol w="3874600">
                  <a:extLst>
                    <a:ext uri="{9D8B030D-6E8A-4147-A177-3AD203B41FA5}">
                      <a16:colId xmlns:a16="http://schemas.microsoft.com/office/drawing/2014/main" val="324897474"/>
                    </a:ext>
                  </a:extLst>
                </a:gridCol>
                <a:gridCol w="4543903">
                  <a:extLst>
                    <a:ext uri="{9D8B030D-6E8A-4147-A177-3AD203B41FA5}">
                      <a16:colId xmlns:a16="http://schemas.microsoft.com/office/drawing/2014/main" val="84815540"/>
                    </a:ext>
                  </a:extLst>
                </a:gridCol>
              </a:tblGrid>
              <a:tr h="368023">
                <a:tc>
                  <a:txBody>
                    <a:bodyPr/>
                    <a:lstStyle/>
                    <a:p>
                      <a:endParaRPr lang="en-US" dirty="0"/>
                    </a:p>
                  </a:txBody>
                  <a:tcPr>
                    <a:lnB w="12700" cap="flat" cmpd="sng" algn="ctr">
                      <a:solidFill>
                        <a:schemeClr val="tx1"/>
                      </a:solidFill>
                      <a:prstDash val="solid"/>
                      <a:round/>
                      <a:headEnd type="none" w="med" len="med"/>
                      <a:tailEnd type="none" w="med" len="med"/>
                    </a:lnB>
                    <a:noFill/>
                  </a:tcPr>
                </a:tc>
                <a:tc>
                  <a:txBody>
                    <a:bodyPr/>
                    <a:lstStyle/>
                    <a:p>
                      <a:pPr algn="ctr"/>
                      <a:r>
                        <a:rPr lang="en-US" sz="1600" dirty="0"/>
                        <a:t>Accommodations</a:t>
                      </a:r>
                    </a:p>
                  </a:txBody>
                  <a:tcPr>
                    <a:lnB w="12700" cap="flat" cmpd="sng" algn="ctr">
                      <a:solidFill>
                        <a:schemeClr val="tx1"/>
                      </a:solidFill>
                      <a:prstDash val="solid"/>
                      <a:round/>
                      <a:headEnd type="none" w="med" len="med"/>
                      <a:tailEnd type="none" w="med" len="med"/>
                    </a:lnB>
                    <a:solidFill>
                      <a:srgbClr val="3E3E6D"/>
                    </a:solidFill>
                  </a:tcPr>
                </a:tc>
                <a:tc>
                  <a:txBody>
                    <a:bodyPr/>
                    <a:lstStyle/>
                    <a:p>
                      <a:pPr algn="ctr"/>
                      <a:r>
                        <a:rPr lang="en-US" sz="1600" dirty="0"/>
                        <a:t>Staff Training Requirements</a:t>
                      </a:r>
                    </a:p>
                  </a:txBody>
                  <a:tcPr>
                    <a:lnB w="12700" cap="flat" cmpd="sng" algn="ctr">
                      <a:solidFill>
                        <a:schemeClr val="tx1"/>
                      </a:solidFill>
                      <a:prstDash val="solid"/>
                      <a:round/>
                      <a:headEnd type="none" w="med" len="med"/>
                      <a:tailEnd type="none" w="med" len="med"/>
                    </a:lnB>
                    <a:solidFill>
                      <a:srgbClr val="3E3E6D"/>
                    </a:solidFill>
                  </a:tcPr>
                </a:tc>
                <a:extLst>
                  <a:ext uri="{0D108BD9-81ED-4DB2-BD59-A6C34878D82A}">
                    <a16:rowId xmlns:a16="http://schemas.microsoft.com/office/drawing/2014/main" val="3026894624"/>
                  </a:ext>
                </a:extLst>
              </a:tr>
              <a:tr h="1509161">
                <a:tc>
                  <a:txBody>
                    <a:bodyPr/>
                    <a:lstStyle/>
                    <a:p>
                      <a:r>
                        <a:rPr lang="en-US" sz="1400" dirty="0"/>
                        <a:t>Ques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are some examples of accommodations that you have experienced with JEC-sourced employees specific to essential companies vs. another environment?</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were the costs of these accommo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types of push back have you received from those at  who are not familiar with this type of program?</a:t>
                      </a:r>
                    </a:p>
                    <a:p>
                      <a:pPr marL="285750" marR="0" lvl="0" indent="-285750" algn="l" defTabSz="502920" rtl="0" eaLnBrk="0" fontAlgn="base" latinLnBrk="0" hangingPunct="0">
                        <a:lnSpc>
                          <a:spcPct val="100000"/>
                        </a:lnSpc>
                        <a:spcBef>
                          <a:spcPct val="0"/>
                        </a:spcBef>
                        <a:spcAft>
                          <a:spcPct val="0"/>
                        </a:spcAft>
                        <a:buClr>
                          <a:srgbClr val="0000FF"/>
                        </a:buClr>
                        <a:buSzTx/>
                        <a:buFont typeface="Wingdings" panose="05000000000000000000" pitchFamily="2" charset="2"/>
                        <a:buChar char="§"/>
                        <a:tabLst/>
                        <a:defRPr/>
                      </a:pPr>
                      <a:r>
                        <a:rPr lang="en-US" sz="1400" dirty="0"/>
                        <a:t>What additional education is required for the individuals who are hired and their team memb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2204330"/>
                  </a:ext>
                </a:extLst>
              </a:tr>
              <a:tr h="0">
                <a:tc>
                  <a:txBody>
                    <a:bodyPr/>
                    <a:lstStyle/>
                    <a:p>
                      <a:r>
                        <a:rPr lang="en-US" sz="1400" dirty="0"/>
                        <a:t>Answ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defTabSz="502920">
                        <a:buClr>
                          <a:srgbClr val="0000FF"/>
                        </a:buClr>
                        <a:buFont typeface="Wingdings" panose="05000000000000000000" pitchFamily="2" charset="2"/>
                        <a:buNone/>
                      </a:pPr>
                      <a:r>
                        <a:rPr lang="en-US" altLang="en-US" sz="1400" dirty="0">
                          <a:solidFill>
                            <a:prstClr val="black"/>
                          </a:solidFill>
                        </a:rPr>
                        <a:t>JEC projects have mirrored Walgreens's findings of &lt;5% of people requesting an accommodation</a:t>
                      </a:r>
                    </a:p>
                    <a:p>
                      <a:pPr marL="285750" indent="-285750" defTabSz="502920">
                        <a:buClr>
                          <a:srgbClr val="0000FF"/>
                        </a:buClr>
                        <a:buFont typeface="Wingdings" panose="05000000000000000000" pitchFamily="2" charset="2"/>
                        <a:buChar char="§"/>
                      </a:pPr>
                      <a:r>
                        <a:rPr lang="en-US" altLang="en-US" sz="1400" dirty="0">
                          <a:solidFill>
                            <a:prstClr val="black"/>
                          </a:solidFill>
                        </a:rPr>
                        <a:t>This is due to the JEC supports to build an inclusive culture</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Natural Support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Job aid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Problem solving decision trees / visuals for instructions</a:t>
                      </a:r>
                    </a:p>
                    <a:p>
                      <a:pPr marL="285750" indent="-285750" defTabSz="502920">
                        <a:buClr>
                          <a:srgbClr val="0000FF"/>
                        </a:buClr>
                        <a:buFont typeface="Wingdings" panose="05000000000000000000" pitchFamily="2" charset="2"/>
                        <a:buChar char="§"/>
                      </a:pPr>
                      <a:r>
                        <a:rPr lang="en-US" altLang="en-US" sz="1400" dirty="0">
                          <a:solidFill>
                            <a:prstClr val="black"/>
                          </a:solidFill>
                        </a:rPr>
                        <a:t>In one instance (out of 200+ employees) a stool was permitted to allow for sitting or standing job completion</a:t>
                      </a:r>
                    </a:p>
                    <a:p>
                      <a:pPr marL="285750" indent="-285750" defTabSz="502920">
                        <a:buClr>
                          <a:srgbClr val="0000FF"/>
                        </a:buClr>
                        <a:buFont typeface="Wingdings" panose="05000000000000000000" pitchFamily="2" charset="2"/>
                        <a:buChar char="§"/>
                      </a:pPr>
                      <a:r>
                        <a:rPr lang="en-US" altLang="en-US" sz="1400" dirty="0">
                          <a:solidFill>
                            <a:prstClr val="black"/>
                          </a:solidFill>
                        </a:rPr>
                        <a:t>Accommodation cost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Stool</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Lamination of 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defTabSz="502920">
                        <a:buClr>
                          <a:srgbClr val="0000FF"/>
                        </a:buClr>
                        <a:buFont typeface="Wingdings" panose="05000000000000000000" pitchFamily="2" charset="2"/>
                        <a:buChar char="§"/>
                      </a:pPr>
                      <a:r>
                        <a:rPr lang="en-US" altLang="en-US" sz="1400" dirty="0">
                          <a:solidFill>
                            <a:prstClr val="black"/>
                          </a:solidFill>
                        </a:rPr>
                        <a:t>Pushbacks from facilities unfamiliar with the program:</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Safety concern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Productivity concerns &amp; termination possibility</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Absenteeism/unreliable</a:t>
                      </a:r>
                    </a:p>
                    <a:p>
                      <a:pPr marL="285750" indent="-285750" defTabSz="502920">
                        <a:buClr>
                          <a:srgbClr val="0000FF"/>
                        </a:buClr>
                        <a:buSzPct val="100000"/>
                        <a:buFont typeface="Wingdings" panose="05000000000000000000" pitchFamily="2" charset="2"/>
                        <a:buChar char="§"/>
                        <a:defRPr/>
                      </a:pPr>
                      <a:r>
                        <a:rPr lang="en-US" altLang="en-US" sz="1400" dirty="0">
                          <a:solidFill>
                            <a:prstClr val="black"/>
                          </a:solidFill>
                        </a:rPr>
                        <a:t>Data shows that companies who adopt this with strategic intent experience:</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Improved safety</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charset="0"/>
                          <a:ea typeface="+mn-ea"/>
                          <a:cs typeface="Arial" charset="0"/>
                        </a:rPr>
                        <a:t>Equal productivity &amp; reduced turnover</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charset="0"/>
                          <a:ea typeface="+mn-ea"/>
                          <a:cs typeface="Arial" charset="0"/>
                        </a:rPr>
                        <a:t>Reduced unexcused absenteeism</a:t>
                      </a:r>
                    </a:p>
                    <a:p>
                      <a:pPr marL="285750" marR="0" lvl="0" indent="-285750" algn="l" defTabSz="502920" rtl="0" eaLnBrk="0" fontAlgn="base" latinLnBrk="0" hangingPunct="0">
                        <a:lnSpc>
                          <a:spcPct val="100000"/>
                        </a:lnSpc>
                        <a:spcBef>
                          <a:spcPct val="0"/>
                        </a:spcBef>
                        <a:spcAft>
                          <a:spcPct val="0"/>
                        </a:spcAft>
                        <a:buClr>
                          <a:srgbClr val="0000FF"/>
                        </a:buClr>
                        <a:buSzPct val="100000"/>
                        <a:buFont typeface="Wingdings" panose="05000000000000000000" pitchFamily="2" charset="2"/>
                        <a:buChar char="§"/>
                        <a:tabLst/>
                        <a:defRPr/>
                      </a:pPr>
                      <a:r>
                        <a:rPr kumimoji="0" lang="en-US" altLang="en-US" sz="1400" b="0" i="0" u="none" strike="noStrike" kern="1200" cap="none" spc="0" normalizeH="0" baseline="0" noProof="0" dirty="0">
                          <a:ln>
                            <a:noFill/>
                          </a:ln>
                          <a:solidFill>
                            <a:prstClr val="black"/>
                          </a:solidFill>
                          <a:effectLst/>
                          <a:uLnTx/>
                          <a:uFillTx/>
                          <a:latin typeface="Arial" charset="0"/>
                          <a:ea typeface="+mn-ea"/>
                          <a:cs typeface="Arial" charset="0"/>
                        </a:rPr>
                        <a:t>JEC provides training to leaders, managers, HR and others about:</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Inclusive management, hiring, interviewing and training techniques</a:t>
                      </a:r>
                    </a:p>
                    <a:p>
                      <a:pPr marL="620713" marR="0" lvl="1" indent="-285750" algn="l" defTabSz="502920" rtl="0" eaLnBrk="0" fontAlgn="base" latinLnBrk="0" hangingPunct="0">
                        <a:lnSpc>
                          <a:spcPct val="100000"/>
                        </a:lnSpc>
                        <a:spcBef>
                          <a:spcPct val="0"/>
                        </a:spcBef>
                        <a:spcAft>
                          <a:spcPct val="0"/>
                        </a:spcAft>
                        <a:buClr>
                          <a:srgbClr val="0000FF"/>
                        </a:buClr>
                        <a:buSzPct val="100000"/>
                        <a:buFont typeface="Arial" panose="020B0604020202020204" pitchFamily="34" charset="0"/>
                        <a:buChar char="‒"/>
                        <a:tabLst/>
                        <a:defRPr/>
                      </a:pPr>
                      <a:r>
                        <a:rPr lang="en-US" altLang="en-US" sz="1400" dirty="0">
                          <a:solidFill>
                            <a:prstClr val="black"/>
                          </a:solidFill>
                        </a:rPr>
                        <a:t>Data countering assumptions made by those unfamiliar with inclu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0751830"/>
                  </a:ext>
                </a:extLst>
              </a:tr>
            </a:tbl>
          </a:graphicData>
        </a:graphic>
      </p:graphicFrame>
      <p:pic>
        <p:nvPicPr>
          <p:cNvPr id="10" name="Graphic 9" descr="Presentation with pie chart with solid fill">
            <a:extLst>
              <a:ext uri="{FF2B5EF4-FFF2-40B4-BE49-F238E27FC236}">
                <a16:creationId xmlns:a16="http://schemas.microsoft.com/office/drawing/2014/main" id="{BABB6043-761E-4CB1-A7D2-E429DA758A3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152" y="4719420"/>
            <a:ext cx="914400" cy="914400"/>
          </a:xfrm>
          <a:prstGeom prst="rect">
            <a:avLst/>
          </a:prstGeom>
        </p:spPr>
      </p:pic>
      <p:pic>
        <p:nvPicPr>
          <p:cNvPr id="12" name="Graphic 11" descr="Questions with solid fill">
            <a:extLst>
              <a:ext uri="{FF2B5EF4-FFF2-40B4-BE49-F238E27FC236}">
                <a16:creationId xmlns:a16="http://schemas.microsoft.com/office/drawing/2014/main" id="{7868B175-5137-4009-BD83-068C3B74FE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8152" y="2484276"/>
            <a:ext cx="914400" cy="914400"/>
          </a:xfrm>
          <a:prstGeom prst="rect">
            <a:avLst/>
          </a:prstGeom>
        </p:spPr>
      </p:pic>
    </p:spTree>
    <p:extLst>
      <p:ext uri="{BB962C8B-B14F-4D97-AF65-F5344CB8AC3E}">
        <p14:creationId xmlns:p14="http://schemas.microsoft.com/office/powerpoint/2010/main" val="1991562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y&lt;/m_strFormatTime&gt;&lt;m_yearfmt&gt;&lt;begin val=&quot;4&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1.81000000000000005329E+00&quot;&gt;&lt;m_msothmcolidx val=&quot;0&quot;/&gt;&lt;m_rgb r=&quot;A0&quot; g=&quot;89&quot; b=&quot;58&quot;/&gt;&lt;/elem&gt;&lt;elem m_fUsage=&quot;1.55610000000000003872E+00&quot;&gt;&lt;m_msothmcolidx val=&quot;0&quot;/&gt;&lt;m_rgb r=&quot;E6&quot; g=&quot;7A&quot; b=&quot;00&quot;/&gt;&lt;/elem&gt;&lt;elem m_fUsage=&quot;1.12193100000000001160E+00&quot;&gt;&lt;m_msothmcolidx val=&quot;0&quot;/&gt;&lt;m_rgb r=&quot;77&quot; g=&quot;82&quot; b=&quot;42&quot;/&gt;&lt;/elem&gt;&lt;elem m_fUsage=&quot;7.29000000000000092371E-01&quot;&gt;&lt;m_msothmcolidx val=&quot;0&quot;/&gt;&lt;m_rgb r=&quot;03&quot; g=&quot;68&quot; b=&quot;AB&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Vx8q.FITRq_o.kF.ho3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jJqmDQ0ix3xBTB5um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xNRFxeVRlaiPg1i4ZZ3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Vx8q.FITRq_o.kF.ho3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jrjzT9aS_qkE6.ikMSU9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PW4Rhnj9p89MDlliPMW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dFXFlfcHzLXDHvYBrvp9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0sjo_PBVXLcTmaYbIBD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cEzQUBikxbSfHnGPt7S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6bw0_a6yP4KEU2NIYZX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NLHYS6I.0.NXFQeCX4w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EgTKUMNMke10w5KgMQY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HQ9BXjhU0e6PwKmIx6_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NLHYS6I.0.NXFQeCX4w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EgTKUMNMke10w5KgMQY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9F9seaoSbakLC_zW7_c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Jy5WNAyTQqdkgbONBZ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Vx8q.FITRq_o.kF.ho3jw"/>
</p:tagLst>
</file>

<file path=ppt/theme/theme1.xml><?xml version="1.0" encoding="utf-8"?>
<a:theme xmlns:a="http://schemas.openxmlformats.org/drawingml/2006/main" name="Blank">
  <a:themeElements>
    <a:clrScheme name="Custom 3">
      <a:dk1>
        <a:srgbClr val="000000"/>
      </a:dk1>
      <a:lt1>
        <a:srgbClr val="FFFFFF"/>
      </a:lt1>
      <a:dk2>
        <a:srgbClr val="000000"/>
      </a:dk2>
      <a:lt2>
        <a:srgbClr val="E7DFBB"/>
      </a:lt2>
      <a:accent1>
        <a:srgbClr val="98B0A4"/>
      </a:accent1>
      <a:accent2>
        <a:srgbClr val="D8AF4A"/>
      </a:accent2>
      <a:accent3>
        <a:srgbClr val="9EA8C6"/>
      </a:accent3>
      <a:accent4>
        <a:srgbClr val="4E786C"/>
      </a:accent4>
      <a:accent5>
        <a:srgbClr val="003399"/>
      </a:accent5>
      <a:accent6>
        <a:srgbClr val="E7DFBB"/>
      </a:accent6>
      <a:hlink>
        <a:srgbClr val="003399"/>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9525" cap="flat" cmpd="sng" algn="ctr">
          <a:solidFill>
            <a:srgbClr val="000000"/>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l" defTabSz="869950" rtl="0" eaLnBrk="0" fontAlgn="base" latinLnBrk="0" hangingPunct="0">
          <a:lnSpc>
            <a:spcPct val="100000"/>
          </a:lnSpc>
          <a:spcBef>
            <a:spcPct val="0"/>
          </a:spcBef>
          <a:spcAft>
            <a:spcPct val="0"/>
          </a:spcAft>
          <a:buClrTx/>
          <a:buSzTx/>
          <a:buFontTx/>
          <a:buNone/>
          <a:tabLst/>
          <a:defRPr kumimoji="0" sz="1400" b="1" i="0" u="none" strike="noStrike" cap="none" normalizeH="0" baseline="0" smtClean="0">
            <a:ln>
              <a:noFill/>
            </a:ln>
            <a:solidFill>
              <a:srgbClr val="000000"/>
            </a:solidFill>
            <a:effectLst/>
            <a:latin typeface="Arial" charset="0"/>
          </a:defRPr>
        </a:defPPr>
      </a:lstStyle>
    </a:spDef>
    <a:lnDef>
      <a:spPr bwMode="auto">
        <a:solidFill>
          <a:srgbClr val="FF0000"/>
        </a:solidFill>
        <a:ln w="12700" cap="flat" cmpd="sng" algn="ctr">
          <a:solidFill>
            <a:srgbClr val="000000"/>
          </a:solidFill>
          <a:prstDash val="solid"/>
          <a:round/>
          <a:headEnd type="none" w="med" len="med"/>
          <a:tailEnd type="none" w="med" len="med"/>
        </a:ln>
        <a:effectLst/>
      </a:spPr>
      <a:bodyPr/>
      <a:lstStyle/>
    </a:lnDef>
  </a:objectDefaults>
  <a:extraClrSchemeLst>
    <a:extraClrScheme>
      <a:clrScheme name="2_blank 1">
        <a:dk1>
          <a:srgbClr val="000000"/>
        </a:dk1>
        <a:lt1>
          <a:srgbClr val="FFFFFF"/>
        </a:lt1>
        <a:dk2>
          <a:srgbClr val="000000"/>
        </a:dk2>
        <a:lt2>
          <a:srgbClr val="000000"/>
        </a:lt2>
        <a:accent1>
          <a:srgbClr val="DDDDDD"/>
        </a:accent1>
        <a:accent2>
          <a:srgbClr val="B2B2B2"/>
        </a:accent2>
        <a:accent3>
          <a:srgbClr val="FFFFFF"/>
        </a:accent3>
        <a:accent4>
          <a:srgbClr val="000000"/>
        </a:accent4>
        <a:accent5>
          <a:srgbClr val="EBEBEB"/>
        </a:accent5>
        <a:accent6>
          <a:srgbClr val="A1A1A1"/>
        </a:accent6>
        <a:hlink>
          <a:srgbClr val="969696"/>
        </a:hlink>
        <a:folHlink>
          <a:srgbClr val="777777"/>
        </a:folHlink>
      </a:clrScheme>
      <a:clrMap bg1="lt1" tx1="dk1" bg2="lt2" tx2="dk2" accent1="accent1" accent2="accent2" accent3="accent3" accent4="accent4" accent5="accent5" accent6="accent6" hlink="hlink" folHlink="folHlink"/>
    </a:extraClrScheme>
    <a:extraClrScheme>
      <a:clrScheme name="2_blank 2">
        <a:dk1>
          <a:srgbClr val="000000"/>
        </a:dk1>
        <a:lt1>
          <a:srgbClr val="FFFFFF"/>
        </a:lt1>
        <a:dk2>
          <a:srgbClr val="000000"/>
        </a:dk2>
        <a:lt2>
          <a:srgbClr val="E7DFBB"/>
        </a:lt2>
        <a:accent1>
          <a:srgbClr val="98B0A4"/>
        </a:accent1>
        <a:accent2>
          <a:srgbClr val="D8AF4A"/>
        </a:accent2>
        <a:accent3>
          <a:srgbClr val="FFFFFF"/>
        </a:accent3>
        <a:accent4>
          <a:srgbClr val="000000"/>
        </a:accent4>
        <a:accent5>
          <a:srgbClr val="CAD4CF"/>
        </a:accent5>
        <a:accent6>
          <a:srgbClr val="C49E42"/>
        </a:accent6>
        <a:hlink>
          <a:srgbClr val="9EA8C6"/>
        </a:hlink>
        <a:folHlink>
          <a:srgbClr val="4E78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10427 PPT Format Guide_vF" id="{670E5307-45BE-4BEF-A396-709C3F2BB00B}" vid="{FD482726-3345-4BB3-93AF-A713308E3371}"/>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7DD27F2854FA478CE0A9CAD5F03EED" ma:contentTypeVersion="13" ma:contentTypeDescription="Create a new document." ma:contentTypeScope="" ma:versionID="0e7de33e721773f1183b131d60f65e07">
  <xsd:schema xmlns:xsd="http://www.w3.org/2001/XMLSchema" xmlns:xs="http://www.w3.org/2001/XMLSchema" xmlns:p="http://schemas.microsoft.com/office/2006/metadata/properties" xmlns:ns2="081318dc-8ff6-460b-8459-e52a7c2954da" xmlns:ns3="e00180f4-db5d-41cb-86de-ef1c91ceb134" targetNamespace="http://schemas.microsoft.com/office/2006/metadata/properties" ma:root="true" ma:fieldsID="45eb0157531e6be54c1da16aad90ddfd" ns2:_="" ns3:_="">
    <xsd:import namespace="081318dc-8ff6-460b-8459-e52a7c2954da"/>
    <xsd:import namespace="e00180f4-db5d-41cb-86de-ef1c91ceb13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1318dc-8ff6-460b-8459-e52a7c2954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Length (seconds)"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0180f4-db5d-41cb-86de-ef1c91ceb134"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1 6 " ? > < A r r a y O f P r o b l e m   x m l n s : x s i = " h t t p : / / w w w . w 3 . o r g / 2 0 0 1 / X M L S c h e m a - i n s t a n c e "   x m l n s : x s d = " h t t p : / / w w w . w 3 . o r g / 2 0 0 1 / X M L S c h e m a " >  
     < P r o b l e m >  
         < P r o b l e m N u m b e r > 2 4 6 1 b e 1 7 - d 1 a e - 4 4 0 2 - a 1 b 0 - 9 8 3 0 7 a 9 9 7 0 f e < / P r o b l e m N u m b e r >  
         < P r o p e r t y > T i t l e   F o n t   S t y l e   -   T i t l e   a n d   C o n t e n t   S l i d e s < / P r o p e r t y >  
         < P r o b l e m T o o l t i p > T h i s   t i t l e ' s   f o n t   s t y l e   i s   i n c o n s i s t e n t   w i t h   m o s t   o f   t h e   p r e s e n t a t i o n < / P r o b l e m T o o l t i p >  
         < I s s u e C o n t e x t > E x e c u t i v e   S u m m a r y < / I s s u e C o n t e x t >  
         < I s s u e C o n t e x t L i n e > E x e c u t i v e   S u m m a r y < / I s s u e C o n t e x t L i n e >  
         < P r o b l e m D e s c r i p t i o n F o r e g r o u n d > # 9 9 9 9 9 9 < / P r o b l e m D e s c r i p t i o n F o r e g r o u n d >  
         < S e l e c t e d R e c o m m e n d e d S t y l e I n d e x > 0 < / S e l e c t e d R e c o m m e n d e d S t y l e I n d e x >  
         < C o d e > & a m p ; # x f 0 a d ; < / C o d e >  
         < m s S l i d e I D > 5 7 2 4 < / m s S l i d e I D >  
         < X M L A l g o r i t h m   t y p e = " P o w e r P o i n t A d d I n . A l g o r i t h m s . T i t l e . T i t l e F o n t S t y l e ,   A s t u t e P o w e r P o i n t A d d I n ,   V e r s i o n = 1 . 0 . 3 9 . 0 ,   C u l t u r e = n e u t r a l ,   P u b l i c K e y T o k e n = n u l l " >  
             < T i t l e F o n t S t y l e >  
                 < S l i d e N u m b e r > 1 < / S l i d e N u m b e r >  
                 < S l i d e I n d e x > 2 < / S l i d e I n d e x >  
                 < S h a p e I D > 1 4 < / 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8 d 5 a 9 f 1 - f 7 e 3 - 4 e f 9 - b 8 0 d - f f 4 6 f 9 e 2 f 8 3 2 < / 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7 2 5 < / m s S l i d e I D >  
         < X M L A l g o r i t h m   t y p e = " P o w e r P o i n t A d d I n . A l g o r i t h m s . T i t l e . T i t l e F o n t S t y l e ,   A s t u t e P o w e r P o i n t A d d I n ,   V e r s i o n = 1 . 0 . 3 9 . 0 ,   C u l t u r e = n e u t r a l ,   P u b l i c K e y T o k e n = n u l l " >  
             < T i t l e F o n t S t y l e >  
                 < S l i d e N u m b e r > 2 < / S l i d e N u m b e r >  
                 < S l i d e I n d e x > 3 < / S l i d e I n d e x >  
                 < S h a p e I D > 6 < / 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9 f d c 7 5 2 - e 9 8 1 - 4 6 a f - b 2 d 0 - 3 2 b e 9 8 0 1 9 9 4 c < / P r o b l e m N u m b e r >  
         < P r o p e r t y > T i t l e   F o n t   S t y l e   -   T i t l e   a n d   C o n t e n t   S l i d e s < / P r o p e r t y >  
         < P r o b l e m T o o l t i p > T h i s   t i t l e ' s   f o n t   s t y l e   i s   i n c o n s i s t e n t   w i t h   m o s t   o f   t h e   p r e s e n t a t i o n < / P r o b l e m T o o l t i p >  
         < I s s u e C o n t e x t > U n d e r s t a n d i n g   t h e   S i t u a t i o n < / I s s u e C o n t e x t >  
         < I s s u e C o n t e x t L i n e > U n d e r s t a n d i n g   t h e   S i t u a t i o n < / I s s u e C o n t e x t L i n e >  
         < P r o b l e m D e s c r i p t i o n F o r e g r o u n d > # 9 9 9 9 9 9 < / P r o b l e m D e s c r i p t i o n F o r e g r o u n d >  
         < S e l e c t e d R e c o m m e n d e d S t y l e I n d e x > 0 < / S e l e c t e d R e c o m m e n d e d S t y l e I n d e x >  
         < C o d e > & a m p ; # x f 0 a d ; < / C o d e >  
         < m s S l i d e I D > 5 7 2 8 < / m s S l i d e I D >  
         < X M L A l g o r i t h m   t y p e = " P o w e r P o i n t A d d I n . A l g o r i t h m s . T i t l e . T i t l e F o n t S t y l e ,   A s t u t e P o w e r P o i n t A d d I n ,   V e r s i o n = 1 . 0 . 3 9 . 0 ,   C u l t u r e = n e u t r a l ,   P u b l i c K e y T o k e n = n u l l " >  
             < T i t l e F o n t S t y l e >  
                 < S l i d e N u m b e r > 5 < / S l i d e N u m b e r >  
                 < S l i d e I n d e x > 6 < / S l i d e I n d e x >  
                 < S h a p e I D > 1 3 9 2 6 5 < / 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4 7 9 a 9 2 7 - 5 9 6 5 - 4 7 8 f - b a 2 8 - 9 6 f f b 3 0 d e 5 4 1 < / P r o b l e m N u m b e r >  
         < P r o p e r t y > T i t l e   F o n t   S t y l e   -   T i t l e   a n d   C o n t e n t   S l i d e s < / P r o p e r t y >  
         < P r o b l e m T o o l t i p > T h i s   t i t l e ' s   f o n t   s t y l e   i s   i n c o n s i s t e n t   w i t h   m o s t   o f   t h e   p r e s e n t a t i o n < / P r o b l e m T o o l t i p >  
         < I s s u e C o n t e x t > U n d e r s t a n d i n g   t h e   S i t u a t i o n < / I s s u e C o n t e x t >  
         < I s s u e C o n t e x t L i n e > U n d e r s t a n d i n g   t h e   S i t u a t i o n < / I s s u e C o n t e x t L i n e >  
         < P r o b l e m D e s c r i p t i o n F o r e g r o u n d > # 9 9 9 9 9 9 < / P r o b l e m D e s c r i p t i o n F o r e g r o u n d >  
         < S e l e c t e d R e c o m m e n d e d S t y l e I n d e x > 0 < / S e l e c t e d R e c o m m e n d e d S t y l e I n d e x >  
         < C o d e > & a m p ; # x f 0 a d ; < / C o d e >  
         < m s S l i d e I D > 5 7 2 9 < / m s S l i d e I D >  
         < X M L A l g o r i t h m   t y p e = " P o w e r P o i n t A d d I n . A l g o r i t h m s . T i t l e . T i t l e F o n t S t y l e ,   A s t u t e P o w e r P o i n t A d d I n ,   V e r s i o n = 1 . 0 . 3 9 . 0 ,   C u l t u r e = n e u t r a l ,   P u b l i c K e y T o k e n = n u l l " >  
             < T i t l e F o n t S t y l e >  
                 < S l i d e N u m b e r > 6 < / S l i d e N u m b e r >  
                 < S l i d e I n d e x > 7 < / S l i d e I n d e x >  
                 < S h a p e I D > 1 3 9 2 6 5 < / 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4 8 e 2 4 e 3 - d d 7 f - 4 1 3 1 - b 4 7 d - 7 0 d 6 7 7 3 4 7 c d 4 < / P r o b l e m N u m b e r >  
         < P r o p e r t y > T i t l e   F o n t   S t y l e   -   T i t l e   a n d   C o n t e n t   S l i d e s < / P r o p e r t y >  
         < P r o b l e m T o o l t i p > T h i s   t i t l e ' s   f o n t   s t y l e   i s   i n c o n s i s t e n t   w i t h   m o s t   o f   t h e   p r e s e n t a t i o n < / P r o b l e m T o o l t i p >  
         < I s s u e C o n t e x t > P u r c h a s i n g   C h e s s b o a r d < / I s s u e C o n t e x t >  
         < I s s u e C o n t e x t L i n e > P u r c h a s i n g   C h e s s b o a r d < / I s s u e C o n t e x t L i n e >  
         < P r o b l e m D e s c r i p t i o n F o r e g r o u n d > # 9 9 9 9 9 9 < / P r o b l e m D e s c r i p t i o n F o r e g r o u n d >  
         < S e l e c t e d R e c o m m e n d e d S t y l e I n d e x > 0 < / S e l e c t e d R e c o m m e n d e d S t y l e I n d e x >  
         < C o d e > & a m p ; # x f 0 a d ; < / C o d e >  
         < m s S l i d e I D > 5 7 3 0 < / m s S l i d e I D >  
         < X M L A l g o r i t h m   t y p e = " P o w e r P o i n t A d d I n . A l g o r i t h m s . T i t l e . T i t l e F o n t S t y l e ,   A s t u t e P o w e r P o i n t A d d I n ,   V e r s i o n = 1 . 0 . 3 9 . 0 ,   C u l t u r e = n e u t r a l ,   P u b l i c K e y T o k e n = n u l l " >  
             < T i t l e F o n t S t y l e >  
                 < S l i d e N u m b e r > 7 < / S l i d e N u m b e r >  
                 < S l i d e I n d e x > 8 < / S l i d e I n d e x >  
                 < S h a p e I D > 1 7 < / 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d 5 c d d 3 9 - 4 c 1 e - 4 d 3 9 - a 0 2 9 - d 4 1 f 7 b a 1 0 1 4 b < / P r o b l e m N u m b e r >  
         < P r o p e r t y > T i t l e   F o n t   S t y l e   -   T i t l e   a n d   C o n t e n t   S l i d e s < / P r o p e r t y >  
         < P r o b l e m T o o l t i p > T h i s   t i t l e ' s   f o n t   s t y l e   i s   i n c o n s i s t e n t   w i t h   m o s t   o f   t h e   p r e s e n t a t i o n < / P r o b l e m T o o l t i p >  
         < I s s u e C o n t e x t > P u r c h a s i n g   C h e s s b o a r d < / I s s u e C o n t e x t >  
         < I s s u e C o n t e x t L i n e > P u r c h a s i n g   C h e s s b o a r d < / I s s u e C o n t e x t L i n e >  
         < P r o b l e m D e s c r i p t i o n F o r e g r o u n d > # 9 9 9 9 9 9 < / P r o b l e m D e s c r i p t i o n F o r e g r o u n d >  
         < S e l e c t e d R e c o m m e n d e d S t y l e I n d e x > 0 < / S e l e c t e d R e c o m m e n d e d S t y l e I n d e x >  
         < C o d e > & a m p ; # x f 0 a d ; < / C o d e >  
         < m s S l i d e I D > 5 7 3 1 < / m s S l i d e I D >  
         < X M L A l g o r i t h m   t y p e = " P o w e r P o i n t A d d I n . A l g o r i t h m s . T i t l e . T i t l e F o n t S t y l e ,   A s t u t e P o w e r P o i n t A d d I n ,   V e r s i o n = 1 . 0 . 3 9 . 0 ,   C u l t u r e = n e u t r a l ,   P u b l i c K e y T o k e n = n u l l " >  
             < T i t l e F o n t S t y l e >  
                 < S l i d e N u m b e r > 8 < / S l i d e N u m b e r >  
                 < S l i d e I n d e x > 9 < / S l i d e I n d e x >  
                 < S h a p e I D > 1 7 < / 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7 1 4 3 a 6 0 - 3 2 8 b - 4 9 9 4 - a d c e - c 7 0 4 2 d f 0 9 c f a < / P r o b l e m N u m b e r >  
         < P r o p e r t y > T i t l e   F o n t   S t y l e   -   T i t l e   a n d   C o n t e n t   S l i d e s < / P r o p e r t y >  
         < P r o b l e m T o o l t i p > T h i s   t i t l e ' s   f o n t   s t y l e   i s   i n c o n s i s t e n t   w i t h   m o s t   o f   t h e   p r e s e n t a t i o n < / P r o b l e m T o o l t i p >  
         < I s s u e C o n t e x t > V e n d o r   S e l e c t i o n   S u p p o r t < / I s s u e C o n t e x t >  
         < I s s u e C o n t e x t L i n e > V e n d o r   S e l e c t i o n   S u p p o r t < / I s s u e C o n t e x t L i n e >  
         < P r o b l e m D e s c r i p t i o n F o r e g r o u n d > # 9 9 9 9 9 9 < / P r o b l e m D e s c r i p t i o n F o r e g r o u n d >  
         < S e l e c t e d R e c o m m e n d e d S t y l e I n d e x > 0 < / S e l e c t e d R e c o m m e n d e d S t y l e I n d e x >  
         < C o d e > & a m p ; # x f 0 a d ; < / C o d e >  
         < m s S l i d e I D > 5 7 3 3 < / m s S l i d e I D >  
         < X M L A l g o r i t h m   t y p e = " P o w e r P o i n t A d d I n . A l g o r i t h m s . T i t l e . T i t l e F o n t S t y l e ,   A s t u t e P o w e r P o i n t A d d I n ,   V e r s i o n = 1 . 0 . 3 9 . 0 ,   C u l t u r e = n e u t r a l ,   P u b l i c K e y T o k e n = n u l l " >  
             < T i t l e F o n t S t y l e >  
                 < S l i d e N u m b e r > 1 0 < / S l i d e N u m b e r >  
                 < S l i d e I n d e x > 1 1 < / S l i d e I n d e x >  
                 < S h a p e I D > 6 < / S h a p e I D >  
                 < S h a p e I n d e x > 3 1 < / 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5 7 4 d a 6 2 - 0 7 3 4 - 4 4 b 3 - 9 0 0 0 - a a 4 1 e f 5 4 a 5 d c < / 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7 3 7 < / m s S l i d e I D >  
         < X M L A l g o r i t h m   t y p e = " P o w e r P o i n t A d d I n . A l g o r i t h m s . T i t l e . T i t l e F o n t S t y l e ,   A s t u t e P o w e r P o i n t A d d I n ,   V e r s i o n = 1 . 0 . 3 9 . 0 ,   C u l t u r e = n e u t r a l ,   P u b l i c K e y T o k e n = n u l l " >  
             < T i t l e F o n t S t y l e >  
                 < S l i d e N u m b e r > 1 4 < / S l i d e N u m b e r >  
                 < S l i d e I n d e x > 1 5 < / 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a f 5 7 0 c - 7 e 9 8 - 4 b 1 b - 8 4 f 4 - e b a 6 c 4 e 8 7 7 4 1 < / 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0 8 7 < / m s S l i d e I D >  
         < X M L A l g o r i t h m   t y p e = " P o w e r P o i n t A d d I n . A l g o r i t h m s . T i t l e . T i t l e F o n t S t y l e ,   A s t u t e P o w e r P o i n t A d d I n ,   V e r s i o n = 1 . 0 . 3 9 . 0 ,   C u l t u r e = n e u t r a l ,   P u b l i c K e y T o k e n = n u l l " >  
             < T i t l e F o n t S t y l e >  
                 < S l i d e N u m b e r > 2 1 < / S l i d e N u m b e r >  
                 < S l i d e I n d e x > 2 2 < / 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d 3 9 c 0 0 4 - f 1 6 0 - 4 f d f - 8 7 1 0 - 3 a 2 e d 3 9 d 4 8 5 5 < / P r o b l e m N u m b e r >  
         < P r o p e r t y > T i t l e   F o n t   S t y l e   -   T i t l e   a n d   C o n t e n t   S l i d e s < / P r o p e r t y >  
         < P r o b l e m T o o l t i p > T h i s   t i t l e ' s   f o n t   s t y l e   i s   i n c o n s i s t e n t   w i t h   m o s t   o f   t h e   p r e s e n t a t i o n < / P r o b l e m T o o l t i p >  
         < I s s u e C o n t e x t > D a s h b o a r d < / I s s u e C o n t e x t >  
         < I s s u e C o n t e x t L i n e > D a s h b o a r d < / I s s u e C o n t e x t L i n e >  
         < P r o b l e m D e s c r i p t i o n F o r e g r o u n d > # 9 9 9 9 9 9 < / P r o b l e m D e s c r i p t i o n F o r e g r o u n d >  
         < S e l e c t e d R e c o m m e n d e d S t y l e I n d e x > 0 < / S e l e c t e d R e c o m m e n d e d S t y l e I n d e x >  
         < C o d e > & a m p ; # x f 0 a d ; < / C o d e >  
         < m s S l i d e I D > 5 6 8 7 < / m s S l i d e I D >  
         < X M L A l g o r i t h m   t y p e = " P o w e r P o i n t A d d I n . A l g o r i t h m s . T i t l e . T i t l e F o n t S t y l e ,   A s t u t e P o w e r P o i n t A d d I n ,   V e r s i o n = 1 . 0 . 3 9 . 0 ,   C u l t u r e = n e u t r a l ,   P u b l i c K e y T o k e n = n u l l " >  
             < T i t l e F o n t S t y l e >  
                 < S l i d e N u m b e r > 2 7 < / S l i d e N u m b e r >  
                 < S l i d e I n d e x > 2 8 < / S l i d e I n d e x >  
                 < S h a p e I D > 6 < / S h a p e I D >  
                 < S h a p e I n d e x > 7 < / 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3 c 8 7 7 9 0 - 7 b f 5 - 4 0 d 9 - b d 8 b - 8 9 1 a e 0 a 0 0 0 c 2 < / P r o b l e m N u m b e r >  
         < P r o p e r t y > T i t l e   F o n t   S t y l e   -   T i t l e   a n d   C o n t e n t   S l i d e s < / P r o p e r t y >  
         < P r o b l e m T o o l t i p > T h i s   t i t l e ' s   f o n t   s t y l e   i s   i n c o n s i s t e n t   w i t h   m o s t   o f   t h e   p r e s e n t a t i o n < / P r o b l e m T o o l t i p >  
         < I s s u e C o n t e x t > C o n t i n u o u s   P r o j e c t   E s t i m a t i o n   I m p r o v e m e n t < / I s s u e C o n t e x t >  
         < I s s u e C o n t e x t L i n e > C o n t i n u o u s   P r o j e c t   E s t i m a t i o n   I m p r o v e m e n t < / I s s u e C o n t e x t L i n e >  
         < P r o b l e m D e s c r i p t i o n F o r e g r o u n d > # 9 9 9 9 9 9 < / P r o b l e m D e s c r i p t i o n F o r e g r o u n d >  
         < S e l e c t e d R e c o m m e n d e d S t y l e I n d e x > 0 < / S e l e c t e d R e c o m m e n d e d S t y l e I n d e x >  
         < C o d e > & a m p ; # x f 0 a d ; < / C o d e >  
         < m s S l i d e I D > 5 7 2 0 < / m s S l i d e I D >  
         < X M L A l g o r i t h m   t y p e = " P o w e r P o i n t A d d I n . A l g o r i t h m s . T i t l e . T i t l e F o n t S t y l e ,   A s t u t e P o w e r P o i n t A d d I n ,   V e r s i o n = 1 . 0 . 3 9 . 0 ,   C u l t u r e = n e u t r a l ,   P u b l i c K e y T o k e n = n u l l " >  
             < T i t l e F o n t S t y l e >  
                 < S l i d e N u m b e r > 3 2 < / S l i d e N u m b e r >  
                 < S l i d e I n d e x > 3 3 < / S l i d e I n d e x >  
                 < S h a p e I D > 3 < / S h a p e I D >  
                 < S h a p e I n d e x > 2 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d 4 a 8 5 1 a - f 4 d 1 - 4 d 3 a - 8 7 c 8 - f 8 3 9 2 e 5 8 d 8 c d < / P r o b l e m N u m b e r >  
         < P r o p e r t y > T i t l e   F o n t   S t y l e   -   T i t l e   a n d   C o n t e n t   S l i d e s < / P r o p e r t y >  
         < P r o b l e m T o o l t i p > T h i s   t i t l e ' s   f o n t   s t y l e   i s   i n c o n s i s t e n t   w i t h   m o s t   o f   t h e   p r e s e n t a t i o n < / P r o b l e m T o o l t i p >  
         < I s s u e C o n t e x t > C o m p a n y < / I s s u e C o n t e x t >  
         < I s s u e C o n t e x t L i n e > C o m p a n y < / I s s u e C o n t e x t L i n e >  
         < P r o b l e m D e s c r i p t i o n F o r e g r o u n d > # 9 9 9 9 9 9 < / P r o b l e m D e s c r i p t i o n F o r e g r o u n d >  
         < S e l e c t e d R e c o m m e n d e d S t y l e I n d e x > 0 < / S e l e c t e d R e c o m m e n d e d S t y l e I n d e x >  
         < C o d e > & a m p ; # x f 0 a d ; < / C o d e >  
         < m s S l i d e I D > 5 6 9 1 < / m s S l i d e I D >  
         < X M L A l g o r i t h m   t y p e = " P o w e r P o i n t A d d I n . A l g o r i t h m s . T i t l e . T i t l e F o n t S t y l e ,   A s t u t e P o w e r P o i n t A d d I n ,   V e r s i o n = 1 . 0 . 3 9 . 0 ,   C u l t u r e = n e u t r a l ,   P u b l i c K e y T o k e n = n u l l " >  
             < T i t l e F o n t S t y l e >  
                 < S l i d e N u m b e r > 3 3 < / S l i d e N u m b e r >  
                 < S l i d e I n d e x > 3 4 < / S l i d e I n d e x >  
                 < S h a p e I D > 9 8 < / 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3 1 0 d 0 5 a - 6 2 a 8 - 4 1 6 6 - b 1 7 9 - 3 6 b 7 c 8 0 1 1 0 0 c < / P r o b l e m N u m b e r >  
         < P r o p e r t y > T i t l e   F o n t   S t y l e   -   T i t l e   a n d   C o n t e n t   S l i d e s < / P r o p e r t y >  
         < P r o b l e m T o o l t i p > T h i s   t i t l e ' s   f o n t   s t y l e   i s   i n c o n s i s t e n t   w i t h   m o s t   o f   t h e   p r e s e n t a t i o n < / P r o b l e m T o o l t i p >  
         < I s s u e C o n t e x t > O v e r v i e w   ( # / # ) < / I s s u e C o n t e x t >  
         < I s s u e C o n t e x t L i n e > O v e r v i e w   ( # / # ) < / I s s u e C o n t e x t L i n e >  
         < P r o b l e m D e s c r i p t i o n F o r e g r o u n d > # 9 9 9 9 9 9 < / P r o b l e m D e s c r i p t i o n F o r e g r o u n d >  
         < S e l e c t e d R e c o m m e n d e d S t y l e I n d e x > 0 < / S e l e c t e d R e c o m m e n d e d S t y l e I n d e x >  
         < C o d e > & a m p ; # x f 0 a d ; < / C o d e >  
         < m s S l i d e I D > 4 9 8 1 < / m s S l i d e I D >  
         < X M L A l g o r i t h m   t y p e = " P o w e r P o i n t A d d I n . A l g o r i t h m s . T i t l e . T i t l e F o n t S t y l e ,   A s t u t e P o w e r P o i n t A d d I n ,   V e r s i o n = 1 . 0 . 3 9 . 0 ,   C u l t u r e = n e u t r a l ,   P u b l i c K e y T o k e n = n u l l " >  
             < T i t l e F o n t S t y l e >  
                 < S l i d e N u m b e r > 3 4 < / S l i d e N u m b e r >  
                 < S l i d e I n d e x > 3 5 < / S l i d e I n d e x >  
                 < S h a p e I D > 1 2 < / S h a p e I D >  
                 < S h a p e I n d e x > 5 1 < / 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5 6 9 5 5 e 7 - 1 6 e b - 4 e a 7 - 9 6 2 c - 1 7 a 2 c 6 6 5 f f 3 6 < / P r o b l e m N u m b e r >  
         < P r o p e r t y > T i t l e   F o n t   S t y l e   -   T i t l e   a n d   C o n t e n t   S l i d e s < / P r o p e r t y >  
         < P r o b l e m T o o l t i p > T h i s   t i t l e ' s   f o n t   s t y l e   i s   i n c o n s i s t e n t   w i t h   m o s t   o f   t h e   p r e s e n t a t i o n < / P r o b l e m T o o l t i p >  
         < I s s u e C o n t e x t > O v e r v i e w   ( # / # ) < / I s s u e C o n t e x t >  
         < I s s u e C o n t e x t L i n e > O v e r v i e w   ( # / # ) < / I s s u e C o n t e x t L i n e >  
         < P r o b l e m D e s c r i p t i o n F o r e g r o u n d > # 9 9 9 9 9 9 < / P r o b l e m D e s c r i p t i o n F o r e g r o u n d >  
         < S e l e c t e d R e c o m m e n d e d S t y l e I n d e x > 0 < / S e l e c t e d R e c o m m e n d e d S t y l e I n d e x >  
         < C o d e > & a m p ; # x f 0 a d ; < / C o d e >  
         < m s S l i d e I D > 4 9 7 6 < / m s S l i d e I D >  
         < X M L A l g o r i t h m   t y p e = " P o w e r P o i n t A d d I n . A l g o r i t h m s . T i t l e . T i t l e F o n t S t y l e ,   A s t u t e P o w e r P o i n t A d d I n ,   V e r s i o n = 1 . 0 . 3 9 . 0 ,   C u l t u r e = n e u t r a l ,   P u b l i c K e y T o k e n = n u l l " >  
             < T i t l e F o n t S t y l e >  
                 < S l i d e N u m b e r > 3 5 < / S l i d e N u m b e r >  
                 < S l i d e I n d e x > 3 6 < / S l i d e I n d e x >  
                 < S h a p e I D > 1 3 < / S h a p e I D >  
                 < S h a p e I n d e x > 5 8 < / 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4 2 7 b 0 8 8 - 1 6 d 7 - 4 3 d 2 - 8 5 4 7 - b 1 1 8 2 4 5 a 0 9 b e < / P r o b l e m N u m b e r >  
         < P r o p e r t y > T i t l e   F o n t   S t y l e   -   T i t l e   a n d   C o n t e n t   S l i d e s < / P r o p e r t y >  
         < P r o b l e m T o o l t i p > T h i s   t i t l e ' s   f o n t   s t y l e   i s   i n c o n s i s t e n t   w i t h   m o s t   o f   t h e   p r e s e n t a t i o n < / P r o b l e m T o o l t i p >  
         < I s s u e C o n t e x t > P r o c u r e m e n t   U p d a t e < / I s s u e C o n t e x t >  
         < I s s u e C o n t e x t L i n e > P r o c u r e m e n t   U p d a t e < / I s s u e C o n t e x t L i n e >  
         < P r o b l e m D e s c r i p t i o n F o r e g r o u n d > # 9 9 9 9 9 9 < / P r o b l e m D e s c r i p t i o n F o r e g r o u n d >  
         < S e l e c t e d R e c o m m e n d e d S t y l e I n d e x > 0 < / S e l e c t e d R e c o m m e n d e d S t y l e I n d e x >  
         < C o d e > & a m p ; # x f 0 a d ; < / C o d e >  
         < m s S l i d e I D > 5 6 9 2 < / m s S l i d e I D >  
         < X M L A l g o r i t h m   t y p e = " P o w e r P o i n t A d d I n . A l g o r i t h m s . T i t l e . T i t l e F o n t S t y l e ,   A s t u t e P o w e r P o i n t A d d I n ,   V e r s i o n = 1 . 0 . 3 9 . 0 ,   C u l t u r e = n e u t r a l ,   P u b l i c K e y T o k e n = n u l l " >  
             < T i t l e F o n t S t y l e >  
                 < S l i d e N u m b e r > 3 6 < / S l i d e N u m b e r >  
                 < S l i d e I n d e x > 3 7 < / S l i d e I n d e x >  
                 < S h a p e I D > 2 < / 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8 8 0 f 9 9 3 - c e 3 a - 4 0 9 f - b f a 5 - 0 2 3 d 7 6 2 3 e a 3 c < / P r o b l e m N u m b e r >  
         < P r o p e r t y > T i t l e   F o n t   S t y l e   -   T i t l e   a n d   C o n t e n t   S l i d e s < / P r o p e r t y >  
         < P r o b l e m T o o l t i p > T h i s   t i t l e ' s   f o n t   s t y l e   i s   i n c o n s i s t e n t   w i t h   m o s t   o f   t h e   p r e s e n t a t i o n < / P r o b l e m T o o l t i p >  
         < I s s u e C o n t e x t > O p p o r t u n i t i e s   f o r   I m p r o v e m e n t < / I s s u e C o n t e x t >  
         < I s s u e C o n t e x t L i n e > O p p o r t u n i t i e s   f o r   I m p r o v e m e n t < / I s s u e C o n t e x t L i n e >  
         < P r o b l e m D e s c r i p t i o n F o r e g r o u n d > # 9 9 9 9 9 9 < / P r o b l e m D e s c r i p t i o n F o r e g r o u n d >  
         < S e l e c t e d R e c o m m e n d e d S t y l e I n d e x > 0 < / S e l e c t e d R e c o m m e n d e d S t y l e I n d e x >  
         < C o d e > & a m p ; # x f 0 a d ; < / C o d e >  
         < m s S l i d e I D > 4 5 6 8 < / m s S l i d e I D >  
         < X M L A l g o r i t h m   t y p e = " P o w e r P o i n t A d d I n . A l g o r i t h m s . T i t l e . T i t l e F o n t S t y l e ,   A s t u t e P o w e r P o i n t A d d I n ,   V e r s i o n = 1 . 0 . 3 9 . 0 ,   C u l t u r e = n e u t r a l ,   P u b l i c K e y T o k e n = n u l l " >  
             < T i t l e F o n t S t y l e >  
                 < S l i d e N u m b e r > 3 7 < / S l i d e N u m b e r >  
                 < S l i d e I n d e x > 3 8 < / S l i d e I n d e x >  
                 < S h a p e I D > 3 < / S h a p e I D >  
                 < S h a p e I n d e x > 5 < / 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3 4 7 4 6 6 2 - 9 d 1 6 - 4 b c 3 - 9 3 0 0 - d d b 7 a 5 b e d 0 0 0 < / P r o b l e m N u m b e r >  
         < P r o p e r t y > T i t l e   F o n t   S t y l e   -   T i t l e   a n d   C o n t e n t   S l i d e s < / P r o p e r t y >  
         < P r o b l e m T o o l t i p > T h i s   t i t l e ' s   f o n t   s t y l e   i s   i n c o n s i s t e n t   w i t h   m o s t   o f   t h e   p r e s e n t a t i o n < / P r o b l e m T o o l t i p >  
         < I s s u e C o n t e x t > O r g a n i z a t i o n   S t r u c t u r e < / I s s u e C o n t e x t >  
         < I s s u e C o n t e x t L i n e > O r g a n i z a t i o n   S t r u c t u r e < / I s s u e C o n t e x t L i n e >  
         < P r o b l e m D e s c r i p t i o n F o r e g r o u n d > # 9 9 9 9 9 9 < / P r o b l e m D e s c r i p t i o n F o r e g r o u n d >  
         < S e l e c t e d R e c o m m e n d e d S t y l e I n d e x > 0 < / S e l e c t e d R e c o m m e n d e d S t y l e I n d e x >  
         < C o d e > & a m p ; # x f 0 a d ; < / C o d e >  
         < m s S l i d e I D > 4 6 8 6 < / m s S l i d e I D >  
         < X M L A l g o r i t h m   t y p e = " P o w e r P o i n t A d d I n . A l g o r i t h m s . T i t l e . T i t l e F o n t S t y l e ,   A s t u t e P o w e r P o i n t A d d I n ,   V e r s i o n = 1 . 0 . 3 9 . 0 ,   C u l t u r e = n e u t r a l ,   P u b l i c K e y T o k e n = n u l l " >  
             < T i t l e F o n t S t y l e >  
                 < S l i d e N u m b e r > 3 8 < / S l i d e N u m b e r >  
                 < S l i d e I n d e x > 3 9 < / S l i d e I n d e x >  
                 < S h a p e I D > 2 < / S h a p e I D >  
                 < S h a p e I n d e x > 6 7 < / 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3 d c 1 0 0 c - 6 2 3 d - 4 1 5 6 - 9 b 0 d - b 2 0 8 2 5 f b 3 1 9 d < / 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0 8 6 < / m s S l i d e I D >  
         < X M L A l g o r i t h m   t y p e = " P o w e r P o i n t A d d I n . A l g o r i t h m s . T i t l e . T i t l e F o n t S t y l e ,   A s t u t e P o w e r P o i n t A d d I n ,   V e r s i o n = 1 . 0 . 3 9 . 0 ,   C u l t u r e = n e u t r a l ,   P u b l i c K e y T o k e n = n u l l " >  
             < T i t l e F o n t S t y l e >  
                 < S l i d e N u m b e r > 4 0 < / S l i d e N u m b e r >  
                 < S l i d e I n d e x > 4 1 < / 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a a 2 8 7 0 1 - 8 1 c c - 4 8 3 3 - b 5 2 8 - 1 4 a e 1 1 d d 0 7 5 0 < / 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6 9 4 < / m s S l i d e I D >  
         < X M L A l g o r i t h m   t y p e = " P o w e r P o i n t A d d I n . A l g o r i t h m s . T i t l e . T i t l e F o n t S t y l e ,   A s t u t e P o w e r P o i n t A d d I n ,   V e r s i o n = 1 . 0 . 3 9 . 0 ,   C u l t u r e = n e u t r a l ,   P u b l i c K e y T o k e n = n u l l " >  
             < T i t l e F o n t S t y l e >  
                 < S l i d e N u m b e r > 4 1 < / S l i d e N u m b e r >  
                 < S l i d e I n d e x > 4 2 < / S l i d e I n d e x >  
                 < S h a p e I D > 6 < / S h a p e I D >  
                 < S h a p e I n d e x > 5 < / 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0 a a b 5 2 a - 3 8 3 c - 4 e d 3 - 8 f 2 4 - b f f 7 9 5 6 7 1 2 2 1 < / P r o b l e m N u m b e r >  
         < P r o p e r t y > T i t l e   F o n t   S t y l e   -   T i t l e   a n d   C o n t e n t   S l i d e s < / P r o p e r t y >  
         < P r o b l e m T o o l t i p > T h i s   t i t l e ' s   f o n t   s t y l e   i s   i n c o n s i s t e n t   w i t h   m o s t   o f   t h e   p r e s e n t a t i o n < / P r o b l e m T o o l t i p >  
         < I s s u e C o n t e x t > S t r a t e g i c   N e g o t i a t i o n s < / I s s u e C o n t e x t >  
         < I s s u e C o n t e x t L i n e > S t r a t e g i c   N e g o t i a t i o n s < / I s s u e C o n t e x t L i n e >  
         < P r o b l e m D e s c r i p t i o n F o r e g r o u n d > # 9 9 9 9 9 9 < / P r o b l e m D e s c r i p t i o n F o r e g r o u n d >  
         < S e l e c t e d R e c o m m e n d e d S t y l e I n d e x > 0 < / S e l e c t e d R e c o m m e n d e d S t y l e I n d e x >  
         < C o d e > & a m p ; # x f 0 a d ; < / C o d e >  
         < m s S l i d e I D > 5 6 9 5 < / m s S l i d e I D >  
         < X M L A l g o r i t h m   t y p e = " P o w e r P o i n t A d d I n . A l g o r i t h m s . T i t l e . T i t l e F o n t S t y l e ,   A s t u t e P o w e r P o i n t A d d I n ,   V e r s i o n = 1 . 0 . 3 9 . 0 ,   C u l t u r e = n e u t r a l ,   P u b l i c K e y T o k e n = n u l l " >  
             < T i t l e F o n t S t y l e >  
                 < S l i d e N u m b e r > 4 2 < / S l i d e N u m b e r >  
                 < S l i d e I n d e x > 4 3 < / S l i d e I n d e x >  
                 < S h a p e I D > 3 < / S h a p e I D >  
                 < S h a p e I n d e x > 9 < / 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0 9 4 a 5 d c - 2 2 2 3 - 4 f e c - b b 0 3 - 2 4 4 9 1 d 7 2 6 a 7 9 < / P r o b l e m N u m b e r >  
         < P r o p e r t y > T i t l e   F o n t   S t y l e   -   T i t l e   a n d   C o n t e n t   S l i d e s < / P r o p e r t y >  
         < P r o b l e m T o o l t i p > T h i s   t i t l e ' s   f o n t   s t y l e   i s   i n c o n s i s t e n t   w i t h   m o s t   o f   t h e   p r e s e n t a t i o n < / P r o b l e m T o o l t i p >  
         < I s s u e C o n t e x t > A p p e n d i x < / I s s u e C o n t e x t >  
         < I s s u e C o n t e x t L i n e > A p p e n d i x < / I s s u e C o n t e x t L i n e >  
         < P r o b l e m D e s c r i p t i o n F o r e g r o u n d > # 9 9 9 9 9 9 < / P r o b l e m D e s c r i p t i o n F o r e g r o u n d >  
         < S e l e c t e d R e c o m m e n d e d S t y l e I n d e x > 0 < / S e l e c t e d R e c o m m e n d e d S t y l e I n d e x >  
         < C o d e > & a m p ; # x f 0 a d ; < / C o d e >  
         < m s S l i d e I D > 4 8 6 2 < / m s S l i d e I D >  
         < X M L A l g o r i t h m   t y p e = " P o w e r P o i n t A d d I n . A l g o r i t h m s . T i t l e . T i t l e F o n t S t y l e ,   A s t u t e P o w e r P o i n t A d d I n ,   V e r s i o n = 1 . 0 . 3 9 . 0 ,   C u l t u r e = n e u t r a l ,   P u b l i c K e y T o k e n = n u l l " >  
             < T i t l e F o n t S t y l e >  
                 < S l i d e N u m b e r > 4 3 < / S l i d e N u m b e r >  
                 < S l i d e I n d e x > 4 4 < / S l i d e I n d e x >  
                 < S h a p e I D > 4 < / S h a p e I D >  
                 < S h a p e I n d e x > 2 < / 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c b b 0 4 b d - 8 a 6 e - 4 3 3 5 - 8 c f 8 - 5 a 6 6 5 1 7 5 b f 7 6 < / P r o b l e m N u m b e r >  
         < P r o p e r t y > T i t l e   P o s i t i o n   -   T i t l e   a n d   C o n t e n t   S l i d e s < / P r o p e r t y >  
         < P r o b l e m T o o l t i p > T h i s   t i t l e ' s   p o s i t i o n   i s   i n c o n s i s t e n t   w i t h   m o s t   o f   t h e   p r e s e n t a t i o n < / P r o b l e m T o o l t i p >  
         < I s s u e C o n t e x t > C o m p a n y < / I s s u e C o n t e x t >  
         < I s s u e C o n t e x t L i n e > C o m p a n y < / I s s u e C o n t e x t L i n e >  
         < P r o b l e m D e s c r i p t i o n F o r e g r o u n d > # 9 9 9 9 9 9 < / P r o b l e m D e s c r i p t i o n F o r e g r o u n d >  
         < S e l e c t e d R e c o m m e n d e d S t y l e I n d e x > 0 < / S e l e c t e d R e c o m m e n d e d S t y l e I n d e x >  
         < C o d e > & a m p ; # x f 0 a d ; < / C o d e >  
         < m s S l i d e I D > 5 6 9 1 < / m s S l i d e I D >  
         < X M L A l g o r i t h m   t y p e = " P o w e r P o i n t A d d I n . A l g o r i t h m s . T i t l e . T i t l e P o s i t i o n ,   A s t u t e P o w e r P o i n t A d d I n ,   V e r s i o n = 1 . 0 . 3 9 . 0 ,   C u l t u r e = n e u t r a l ,   P u b l i c K e y T o k e n = n u l l " >  
             < T i t l e P o s i t i o n >  
                 < S l i d e N u m b e r > 3 3 < / S l i d e N u m b e r >  
                 < S l i d e I n d e x > 3 4 < / S l i d e I n d e x >  
                 < S h a p e I D > 9 8 < / S h a p e I D >  
                 < L i n e N u m b e r > 0 < / L i n e N u m b e r >  
                 < S h a p e I n d e x > 3 < / S h a p e I n d e x >  
                 < S h a p e I n d e x e s / >  
                 < S l i d e C o n t e n t T y p e > C o n t e n t S l i d e < / S l i d e C o n t e n t T y p e >  
                 < R o w I n d e x > 0 < / R o w I n d e x >  
                 < C o l u m n I n d e x > 0 < / C o l u m n I n d e x >  
                 < I s M s o T a b l e > f a l s e < / I s M s o T a b l e >  
             < / T i t l e P o s i t i o n >  
         < / X M L A l g o r i t h m >  
         < I s s u e C o n t e x t I n n e r > T i t l e   P o s i t i o n   -   T i t l e   a n d   C o n t e n t   S l i d e s < / I s s u e C o n t e x t I n n e r >  
         < I s s u e C o n t e x t I n n e r T e x t > T i t l e   P o s i t i o n   -   T i t l e   a n d   C o n t e n t   S l i d e s < / 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4 0 e 6 1 b 8 - 1 a 4 3 - 4 5 2 9 - 9 3 9 b - 6 3 2 b 3 9 5 0 1 d 6 5 < / P r o b l e m N u m b e r >  
         < P r o p e r t y > T i t l e   P u n c t u a t i o n   -   T i t l e   a n d   C o n t e n t   S l i d e s < / P r o p e r t y >  
         < P r o b l e m T o o l t i p > T h i s   t i t l e ' s   e n d i n g   p u n c t u a t i o n   i s   i n c o n s i s t e n t   w i t h   m o s t   o f   t h e   p r e s e n t a t i o n < / P r o b l e m T o o l t i p >  
         < I s s u e C o n t e x t > E s t a b l i s h i n g   A   F o u n d a t i o n :   H o w   t o   E v a l u a t e   S u c c e s s ? < / I s s u e C o n t e x t >  
         < I s s u e C o n t e x t L i n e > E s t a b l i s h i n g   A   F o u n d a t i o n :   H o w   t o   E v a l u a t e   S u c c e s s ? < / I s s u e C o n t e x t L i n e >  
         < P r o b l e m D e s c r i p t i o n F o r e g r o u n d > # 9 9 9 9 9 9 < / P r o b l e m D e s c r i p t i o n F o r e g r o u n d >  
         < S e l e c t e d R e c o m m e n d e d S t y l e I n d e x > 0 < / S e l e c t e d R e c o m m e n d e d S t y l e I n d e x >  
         < C o d e > & a m p ; # x f 0 a d ; < / C o d e >  
         < m s S l i d e I D > 4 6 8 0 < / m s S l i d e I D >  
         < X M L A l g o r i t h m   t y p e = " P o w e r P o i n t A d d I n . A l g o r i t h m s . T i t l e . T i t l e P u n c t u a t i o n ,   A s t u t e P o w e r P o i n t A d d I n ,   V e r s i o n = 1 . 0 . 3 9 . 0 ,   C u l t u r e = n e u t r a l ,   P u b l i c K e y T o k e n = n u l l " >  
             < T i t l e P u n c t u a t i o n >  
                 < S l i d e N u m b e r > 2 9 < / S l i d e N u m b e r >  
                 < S l i d e I n d e x > 3 0 < / S l i d e I n d e x >  
                 < S h a p e I D > 6 < / S h a p e I D >  
                 < S h a p e I n d e x > 1 3 < / S h a p e I n d e x >  
                 < S h a p e I n d e x e s / >  
                 < L i n e N u m b e r > 1 < / L i n e N u m b e r >  
                 < S l i d e C o n t e n t T y p e > C o n t e n t S l i d e < / S l i d e C o n t e n t T y p e >  
                 < R o w I n d e x > 0 < / R o w I n d e x >  
                 < C o l u m n I n d e x > 0 < / C o l u m n I n d e x >  
                 < I s M s o T a b l e > f a l s e < / I s M s o T a b l e >  
             < / T i t l e P u n c t u 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9 f 1 0 9 2 - e f c b - 4 5 8 b - a c e d - 2 a 9 4 6 d e c 7 a c d < / P r o b l e m N u m b e r >  
         < P r o p e r t y > T i t l e   C a p i t a l i z a t i o n   -   T i t l e   a n d   C o n t e n t   S l i d e s < / P r o p e r t y >  
         < P r o b l e m T o o l t i p > T h i s   t i t l e ' s   c a p i t a l i z a t i o n   i s   i n c o n s i s t e n t   w i t h   m o s t   o f   t h e   p r e s e n t a t i o n < / P r o b l e m T o o l t i p >  
         < I s s u e C o n t e x t > G r a p h   w i t h   K e y   N o t e s :   E x a m p l e < / I s s u e C o n t e x t >  
         < I s s u e C o n t e x t L i n e > G r a p h   w i t h   K e y   N o t e s :   E x a m p l e < / I s s u e C o n t e x t L i n e >  
         < P r o b l e m D e s c r i p t i o n F o r e g r o u n d > # 9 9 9 9 9 9 < / P r o b l e m D e s c r i p t i o n F o r e g r o u n d >  
         < S e l e c t e d R e c o m m e n d e d S t y l e I n d e x > 0 < / S e l e c t e d R e c o m m e n d e d S t y l e I n d e x >  
         < C o d e > & a m p ; # x f 0 a d ; < / C o d e >  
         < m s S l i d e I D > 5 7 3 4 < / m s S l i d e I D >  
         < X M L A l g o r i t h m   t y p e = " P o w e r P o i n t A d d I n . A l g o r i t h m s . T i t l e . T i t l e C a p i t a l i z a t i o n N o A r t i c l e s ,   A s t u t e P o w e r P o i n t A d d I n ,   V e r s i o n = 1 . 0 . 3 9 . 0 ,   C u l t u r e = n e u t r a l ,   P u b l i c K e y T o k e n = n u l l " >  
             < T i t l e C a p i t a l i z a t i o n N o A r t i c l e s >  
                 < S l i d e N u m b e r > 1 1 < / S l i d e N u m b e r >  
                 < S l i d e I n d e x > 1 2 < / S l i d e I n d e x >  
                 < S h a p e I D > 1 1 < / S h a p e I D >  
                 < S h a p e I n d e x > 9 7 < / 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4 3 8 6 c 0 3 - f a b 7 - 4 c 5 0 - 9 7 a 9 - c 4 f f a 6 2 3 6 3 f 2 < / P r o b l e m N u m b e r >  
         < P r o p e r t y > T i t l e   C a p i t a l i z a t i o n   -   T i t l e   a n d   C o n t e n t   S l i d e s < / P r o p e r t y >  
         < P r o b l e m T o o l t i p > T h i s   t i t l e ' s   c a p i t a l i z a t i o n   i s   i n c o n s i s t e n t   w i t h   m o s t   o f   t h e   p r e s e n t a t i o n < / P r o b l e m T o o l t i p >  
         < I s s u e C o n t e x t > T w o   G r a p h s   C o m p a r i s o n :   E x a m p l e   w /   K e y   N o t e s < / I s s u e C o n t e x t >  
         < I s s u e C o n t e x t L i n e > T w o   G r a p h s   C o m p a r i s o n :   E x a m p l e   w /   K e y   N o t e s < / I s s u e C o n t e x t L i n e >  
         < P r o b l e m D e s c r i p t i o n F o r e g r o u n d > # 9 9 9 9 9 9 < / P r o b l e m D e s c r i p t i o n F o r e g r o u n d >  
         < S e l e c t e d R e c o m m e n d e d S t y l e I n d e x > 0 < / S e l e c t e d R e c o m m e n d e d S t y l e I n d e x >  
         < C o d e > & a m p ; # x f 0 a d ; < / C o d e >  
         < m s S l i d e I D > 5 7 3 5 < / m s S l i d e I D >  
         < X M L A l g o r i t h m   t y p e = " P o w e r P o i n t A d d I n . A l g o r i t h m s . T i t l e . T i t l e C a p i t a l i z a t i o n N o A r t i c l e s ,   A s t u t e P o w e r P o i n t A d d I n ,   V e r s i o n = 1 . 0 . 3 9 . 0 ,   C u l t u r e = n e u t r a l ,   P u b l i c K e y T o k e n = n u l l " >  
             < T i t l e C a p i t a l i z a t i o n N o A r t i c l e s >  
                 < S l i d e N u m b e r > 1 2 < / S l i d e N u m b e r >  
                 < S l i d e I n d e x > 1 3 < / S l i d e I n d e x >  
                 < S h a p e I D > 4 < / S h a p e I D >  
                 < S h a p e I n d e x > 2 2 5 < / 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7 a 8 1 c 1 a - 1 b 7 b - 4 2 0 d - a 7 9 0 - 4 f 8 b e f a 2 0 e 6 3 < / P r o b l e m N u m b e r >  
         < P r o p e r t y > T i t l e   C a p i t a l i z a t i o n   -   T i t l e   a n d   C o n t e n t   S l i d e s < / P r o p e r t y >  
         < P r o b l e m T o o l t i p > T h i s   t i t l e ' s   c a p i t a l i z a t i o n   i s   i n c o n s i s t e n t   w i t h   m o s t   o f   t h e   p r e s e n t a t i o n < / P r o b l e m T o o l t i p >  
         < I s s u e C o n t e x t > S i z e   C o m p a r i s o n :   E x a m p l e   w /   K e y   N o t e s < / I s s u e C o n t e x t >  
         < I s s u e C o n t e x t L i n e > S i z e   C o m p a r i s o n :   E x a m p l e   w /   K e y   N o t e s < / I s s u e C o n t e x t L i n e >  
         < P r o b l e m D e s c r i p t i o n F o r e g r o u n d > # 9 9 9 9 9 9 < / P r o b l e m D e s c r i p t i o n F o r e g r o u n d >  
         < S e l e c t e d R e c o m m e n d e d S t y l e I n d e x > 0 < / S e l e c t e d R e c o m m e n d e d S t y l e I n d e x >  
         < C o d e > & a m p ; # x f 0 a d ; < / C o d e >  
         < m s S l i d e I D > 5 7 3 9 < / m s S l i d e I D >  
         < X M L A l g o r i t h m   t y p e = " P o w e r P o i n t A d d I n . A l g o r i t h m s . T i t l e . T i t l e C a p i t a l i z a t i o n N o A r t i c l e s ,   A s t u t e P o w e r P o i n t A d d I n ,   V e r s i o n = 1 . 0 . 3 9 . 0 ,   C u l t u r e = n e u t r a l ,   P u b l i c K e y T o k e n = n u l l " >  
             < T i t l e C a p i t a l i z a t i o n N o A r t i c l e s >  
                 < S l i d e N u m b e r > 1 6 < / S l i d e N u m b e r >  
                 < S l i d e I n d e x > 1 7 < / S l i d e I n d e x >  
                 < S h a p e I D > 2 < / S h a p e I D >  
                 < S h a p e I n d e x > 3 0 < / 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c 3 2 4 2 7 5 - 4 c 6 9 - 4 b 2 1 - b b c 5 - 8 2 5 f f 7 a d 6 2 4 f < / P r o b l e m N u m b e r >  
         < P r o p e r t y > T i t l e   A r t i c l e   C a p i t a l i z a t i o n   -   T i t l e   a n d   C o n t e n t   S l i d e s < / P r o p e r t y >  
         < P r o b l e m T o o l t i p > T h i s   t i t l e ' s   c a p i t a l i z a t i o n   f o r   a r t i c l e s   i s   i n c o n s i s t e n t   w i t h   m o s t   o f   t h e   p r e s e n t a t i o n < / P r o b l e m T o o l t i p >  
         < I s s u e C o n t e x t > A < / I s s u e C o n t e x t >  
         < I s s u e C o n t e x t L i n e > E s t a b l i s h i n g   A   F o u n d a t i o n :   H o w   t o   E v a l u a t e   S u c c e s s ? < / I s s u e C o n t e x t L i n e >  
         < P r o b l e m D e s c r i p t i o n F o r e g r o u n d > # 9 9 9 9 9 9 < / P r o b l e m D e s c r i p t i o n F o r e g r o u n d >  
         < S e l e c t e d R e c o m m e n d e d S t y l e I n d e x > 0 < / S e l e c t e d R e c o m m e n d e d S t y l e I n d e x >  
         < C o d e > & a m p ; # x f 0 a d ; < / C o d e >  
         < m s S l i d e I D > 4 6 8 0 < / m s S l i d e I D >  
         < X M L A l g o r i t h m   t y p e = " P o w e r P o i n t A d d I n . A l g o r i t h m s . T i t l e . T i t l e A r t i c l e C a p i t a l i z a t i o n ,   A s t u t e P o w e r P o i n t A d d I n ,   V e r s i o n = 1 . 0 . 3 9 . 0 ,   C u l t u r e = n e u t r a l ,   P u b l i c K e y T o k e n = n u l l " >  
             < T i t l e A r t i c l e C a p i t a l i z a t i o n >  
                 < S l i d e N u m b e r > 2 9 < / S l i d e N u m b e r >  
                 < S l i d e I n d e x > 3 0 < / S l i d e I n d e x >  
                 < S h a p e I D > 6 < / S h a p e I D >  
                 < S h a p e I n d e x > 1 3 < / S h a p e I n d e x >  
                 < S h a p e I n d e x e s / >  
                 < L i n e N u m b e r > 1 < / L i n e N u m b e r >  
                 < S l i d e C o n t e n t T y p e > C o n t e n t S l i d e < / S l i d e C o n t e n t T y p e >  
                 < R o w I n d e x > 0 < / R o w I n d e x >  
                 < C o l u m n I n d e x > 0 < / C o l u m n I n d e x >  
                 < I s M s o T a b l e > f a l s e < / I s M s o T a b l e >  
             < / T i t l e A r t i c l e C a p i t a l i z 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4 1 6 4 6 7 8 - f 3 b 2 - 4 c 1 a - 9 8 7 2 - 7 2 2 1 8 0 d a c b 3 a < / P r o b l e m N u m b e r >  
         < P r o p e r t y > T i t l e   A r t i c l e   C a p i t a l i z a t i o n   -   T i t l e   a n d   C o n t e n t   S l i d e s < / P r o p e r t y >  
         < P r o b l e m T o o l t i p > T h i s   t i t l e ' s   c a p i t a l i z a t i o n   f o r   a r t i c l e s   i s   i n c o n s i s t e n t   w i t h   m o s t   o f   t h e   p r e s e n t a t i o n < / P r o b l e m T o o l t i p >  
         < I s s u e C o n t e x t > V A S   T o p   O p p o r t u n i t i e s :   B y   T i m e l i n e   & a m p ;   C r i t i c a l i t y   ( 1 / 6 ) < / I s s u e C o n t e x t >  
         < I s s u e C o n t e x t L i n e > V A S   T o p   O p p o r t u n i t i e s :   B y   T i m e l i n e   & a m p ;   C r i t i c a l i t y   ( 1 / 6 ) < / I s s u e C o n t e x t L i n e >  
         < P r o b l e m D e s c r i p t i o n F o r e g r o u n d > # 9 9 9 9 9 9 < / P r o b l e m D e s c r i p t i o n F o r e g r o u n d >  
         < S e l e c t e d R e c o m m e n d e d S t y l e I n d e x > 0 < / S e l e c t e d R e c o m m e n d e d S t y l e I n d e x >  
         < C o d e > & a m p ; # x f 0 a d ; < / C o d e >  
         < m s S l i d e I D > 5 1 6 8 < / m s S l i d e I D >  
         < X M L A l g o r i t h m   t y p e = " P o w e r P o i n t A d d I n . A l g o r i t h m s . T i t l e . T i t l e A r t i c l e C a p i t a l i z a t i o n ,   A s t u t e P o w e r P o i n t A d d I n ,   V e r s i o n = 1 . 0 . 3 9 . 0 ,   C u l t u r e = n e u t r a l ,   P u b l i c K e y T o k e n = n u l l " >  
             < T i t l e A r t i c l e C a p i t a l i z a t i o n >  
                 < S l i d e N u m b e r > 5 8 < / S l i d e N u m b e r >  
                 < S l i d e I n d e x > 5 9 < / S l i d e I n d e x >  
                 < S h a p e I D > 7 < / S h a p e I D >  
                 < S h a p e I n d e x > 9 < / S h a p e I n d e x >  
                 < S h a p e I n d e x e s / >  
                 < L i n e N u m b e r > 1 < / L i n e N u m b e r >  
                 < S l i d e C o n t e n t T y p e > C o n t e n t S l i d e < / S l i d e C o n t e n t T y p e >  
                 < R o w I n d e x > 0 < / R o w I n d e x >  
                 < C o l u m n I n d e x > 0 < / C o l u m n I n d e x >  
                 < I s M s o T a b l e > f a l s e < / I s M s o T a b l e >  
                 < A p p l i e d S t y l e >  
                     < I s M i x e d S t y l e > f a l s e < / I s M i x e d S t y l e >  
                     < S t y l e D e s c r i p t i o n > N o t   c a p i t a l i z e d < / S t y l e D e s c r i p t i o n >  
                     < C o l u m n 4 W i d t h > 6 5 < / C o l u m n 4 W i d t h >  
                     < F r e q u e n c y > 8 < / F r e q u e n c y >  
                     < S h o w F r e q u e n c y I n P e r c e n t a g e > f a l s e < / S h o w F r e q u e n c y I n P e r c e n t a g e >  
                     < F r e q u e n c y D e s c r i p t i o n > u s e s < / F r e q u e n c y D e s c r i p t i o n >  
                     < C o d e > 0 < / C o d e >  
                     < S e l e c t e d V a l u e   x s i : t y p e = " x s d : i n t " > 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T i t l e A r t i c l e C a p i t a l i z 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7 e e 8 9 1 b - 2 8 c 2 - 4 7 b 7 - 8 b 4 4 - e 0 b e b e e b 1 a 5 1 < / P r o b l e m N u m b e r >  
         < P r o p e r t y > D e c i m a l   P r e c i s i o n < / P r o p e r t y >  
         < P r o b l e m T o o l t i p > T h i s   d e c i m a l   p r e c i s i o n   i s   i n c o n s i s t e n t   w i t h   m o s t   o f   t h e   p r e s e n t a t i o n < / P r o b l e m T o o l t i p >  
         < I s s u e C o n t e x t > 0 . 9 0 < / I s s u e C o n t e x t >  
         < I s s u e C o n t e x t L i n e > $ 0 . 9 0 < / 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1 < / T a b l e C e l l N u m b e r >  
                 < S h a p e I n d e x > 9 5 < / S h a p e I n d e x >  
                 < S h a p e I n d e x e s / >  
                 < I s s u e W o r d > 0 . 9 0 < / 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1 6 4 0 2 7 b - 6 9 c 7 - 4 b d a - 8 0 a 8 - 7 9 5 a 2 2 7 e 8 7 3 8 < / P r o b l e m N u m b e r >  
         < P r o p e r t y > D e c i m a l   P r e c i s i o n < / P r o p e r t y >  
         < P r o b l e m T o o l t i p > T h i s   d e c i m a l   p r e c i s i o n   i s   i n c o n s i s t e n t   w i t h   m o s t   o f   t h e   p r e s e n t a t i o n < / P r o b l e m T o o l t i p >  
         < I s s u e C o n t e x t > 1 . 0 1 < / I s s u e C o n t e x t >  
         < I s s u e C o n t e x t L i n e > $ 1 . 0 1 < / 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2 < / T a b l e C e l l N u m b e r >  
                 < S h a p e I n d e x > 9 5 < / S h a p e I n d e x >  
                 < S h a p e I n d e x e s / >  
                 < I s s u e W o r d > 1 . 0 1 < / 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c d f 7 8 4 c - 0 e 6 e - 4 1 b 8 - b f 5 2 - 9 8 5 a 5 e 9 1 f a 2 f < / P r o b l e m N u m b e r >  
         < P r o p e r t y > D e c i m a l   P r e c i s i o n < / P r o p e r t y >  
         < P r o b l e m T o o l t i p > T h i s   d e c i m a l   p r e c i s i o n   i s   i n c o n s i s t e n t   w i t h   m o s t   o f   t h e   p r e s e n t a t i o n < / P r o b l e m T o o l t i p >  
         < I s s u e C o n t e x t > 1 . 3 1 < / I s s u e C o n t e x t >  
         < I s s u e C o n t e x t L i n e > $ 1 . 3 1 < / 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3 < / T a b l e C e l l N u m b e r >  
                 < S h a p e I n d e x > 9 5 < / S h a p e I n d e x >  
                 < S h a p e I n d e x e s / >  
                 < I s s u e W o r d > 1 . 3 1 < / 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2 3 9 7 d 1 d - 5 0 d 7 - 4 9 d f - 8 b 1 4 - 3 5 1 4 e 2 f 7 6 8 f 6 < / P r o b l e m N u m b e r >  
         < P r o p e r t y > D e c i m a l   P r e c i s i o n < / P r o p e r t y >  
         < P r o b l e m T o o l t i p > T h i s   d e c i m a l   p r e c i s i o n   i s   i n c o n s i s t e n t   w i t h   m o s t   o f   t h e   p r e s e n t a t i o n < / P r o b l e m T o o l t i p >  
         < I s s u e C o n t e x t > 1 . 3 9 < / I s s u e C o n t e x t >  
         < I s s u e C o n t e x t L i n e > $ 1 . 3 9 < / 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4 < / T a b l e C e l l N u m b e r >  
                 < S h a p e I n d e x > 9 5 < / S h a p e I n d e x >  
                 < S h a p e I n d e x e s / >  
                 < I s s u e W o r d > 1 . 3 9 < / 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2 c 2 9 4 5 c - e 8 4 4 - 4 c 5 e - 8 4 5 d - a 3 5 b 4 c b 1 8 c e 7 < / P r o b l e m N u m b e r >  
         < P r o p e r t y > D e c i m a l   P r e c i s i o n < / P r o p e r t y >  
         < P r o b l e m T o o l t i p > T h i s   d e c i m a l   p r e c i s i o n   i s   i n c o n s i s t e n t   w i t h   m o s t   o f   t h e   p r e s e n t a t i o n < / P r o b l e m T o o l t i p >  
         < I s s u e C o n t e x t > 1 . 0 0 < / I s s u e C o n t e x t >  
         < I s s u e C o n t e x t L i n e > $ 1 . 0 0 < / 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5 < / T a b l e C e l l N u m b e r >  
                 < S h a p e I n d e x > 9 5 < / S h a p e I n d e x >  
                 < S h a p e I n d e x e s / >  
                 < I s s u e W o r d > 1 . 0 0 < / 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0 2 f e 1 e 6 - 2 0 7 4 - 4 6 8 f - a f 3 e - e a f c 9 6 a 8 2 1 f 5 < / P r o b l e m N u m b e r >  
         < P r o p e r t y > D e c i m a l   P r e c i s i o n < / P r o p e r t y >  
         < P r o b l e m T o o l t i p > T h i s   d e c i m a l   p r e c i s i o n   i s   i n c o n s i s t e n t   w i t h   m o s t   o f   t h e   p r e s e n t a t i o n < / P r o b l e m T o o l t i p >  
         < I s s u e C o n t e x t > 1 . 1 5 < / I s s u e C o n t e x t >  
         < I s s u e C o n t e x t L i n e > $ 1 . 1 5 < / 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9 . 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6 < / T a b l e C e l l N u m b e r >  
                 < S h a p e I n d e x > 9 5 < / S h a p e I n d e x >  
                 < S h a p e I n d e x e s / >  
                 < I s s u e W o r d > 1 . 1 5 < / 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3 8 5 f e 9 f - e 3 1 b - 4 6 e 1 - 8 f f 3 - a d 0 9 5 a e 7 8 b b a < / P r o b l e m N u m b e r >  
         < P r o p e r t y > D e c i m a l   P r e c i s i o n < / P r o p e r t y >  
         < P r o b l e m T o o l t i p > T h i s   d e c i m a l   p r e c i s i o n   i s   i n c o n s i s t e n t   w i t h   m o s t   o f   t h e   p r e s e n t a t i o n < / P r o b l e m T o o l t i p >  
         < I s s u e C o n t e x t > 0 . 7 1 < / I s s u e C o n t e x t >  
         < I s s u e C o n t e x t L i n e > 0 . 7 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3 < / S h a p e I n d e x >  
                 < S h a p e I n d e x e s / >  
                 < I s s u e W o r d > 0 . 7 1 < / I s s u e W o r d >  
                 < W o r d I n d e x > 1 < / W o r d I n d e x >  
                 < D e c i m a l I n d e x I n W o r d > 0 < / D e c i m a l I n d e x I n W o r d >  
                 < I s M u l t i p l e D e c i m a l W o r d > f a l s e < / I s M u l t i p l e D e c i m a l W o r d >  
                 < S h a p e I D > 1 6 2 < / S h a p e I D >  
                 < I s M s o T a b l e > f a l s e < / I s M s o T a b l e >  
                 < A p p l i e d S t y l e >  
                     < I s M i x e d S t y l e > f a l s e < / I s M i x e d S t y l e >  
                     < D e s c r i p t i o n S h o w B l a c k 1 > 0 . 7 < / 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7 < / 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f 1 0 f a d f - 5 4 3 3 - 4 d 0 9 - 8 1 9 e - a d f f a f 4 3 3 c 7 f < / 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4 < / S h a p e I n d e x >  
                 < S h a p e I n d e x e s / >  
                 < I s s u e W o r d > 0 . 6 0 < / I s s u e W o r d >  
                 < W o r d I n d e x > 1 < / W o r d I n d e x >  
                 < D e c i m a l I n d e x I n W o r d > 0 < / D e c i m a l I n d e x I n W o r d >  
                 < I s M u l t i p l e D e c i m a l W o r d > f a l s e < / I s M u l t i p l e D e c i m a l W o r d >  
                 < S h a p e I D > 1 6 3 < / 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c a 1 a 9 2 0 - 1 f 8 e - 4 d f 3 - 9 9 1 7 - 0 5 d 7 b 0 5 6 7 c 6 d < / P r o b l e m N u m b e r >  
         < P r o p e r t y > D e c i m a l   P r e c i s i o n < / P r o p e r t y >  
         < P r o b l e m T o o l t i p > T h i s   d e c i m a l   p r e c i s i o n   i s   i n c o n s i s t e n t   w i t h   m o s t   o f   t h e   p r e s e n t a t i o n < / P r o b l e m T o o l t i p >  
         < I s s u e C o n t e x t > 0 . 7 8 < / I s s u e C o n t e x t >  
         < I s s u e C o n t e x t L i n e > 0 . 7 8 < / 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5 < / S h a p e I n d e x >  
                 < S h a p e I n d e x e s / >  
                 < I s s u e W o r d > 0 . 7 8 < / I s s u e W o r d >  
                 < W o r d I n d e x > 1 < / W o r d I n d e x >  
                 < D e c i m a l I n d e x I n W o r d > 0 < / D e c i m a l I n d e x I n W o r d >  
                 < I s M u l t i p l e D e c i m a l W o r d > f a l s e < / I s M u l t i p l e D e c i m a l W o r d >  
                 < S h a p e I D > 1 2 6 < / S h a p e I D >  
                 < I s M s o T a b l e > f a l s e < / I s M s o T a b l e >  
                 < A p p l i e d S t y l e >  
                     < I s M i x e d S t y l e > f a l s e < / I s M i x e d S t y l e >  
                     < D e s c r i p t i o n S h o w B l a c k 1 > 0 . < / D e s c r i p t i o n S h o w B l a c k 1 >  
                     < D e s c r i p t i o n S h o w R e d 1 > 8 < / D e s c r i p t i o n S h o w R e d 1 >  
                     < C o l u m n 4 W i d t h > 6 5 < / C o l u m n 4 W i d t h >  
                     < F r e q u e n c y > 1 2 1 < / F r e q u e n c y >  
                     < S h o w F r e q u e n c y I n P e r c e n t a g e > f a l s e < / S h o w F r e q u e n c y I n P e r c e n t a g e >  
                     < F r e q u e n c y D e s c r i p t i o n > u s e s < / F r e q u e n c y D e s c r i p t i o n >  
                     < C o d e > 0 < / C o d e >  
                     < S e l e c t e d V a l u e   x s i : t y p e = " x s d : s t r i n g " > 0 . 8 < / 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0 5 0 d f 4 2 - 9 b e 3 - 4 d 3 b - b 2 6 e - 2 5 6 f 8 0 1 e a 0 a e < / P r o b l e m N u m b e r >  
         < P r o p e r t y > D e c i m a l   P r e c i s i o n < / P r o p e r t y >  
         < P r o b l e m T o o l t i p > T h i s   d e c i m a l   p r e c i s i o n   i s   i n c o n s i s t e n t   w i t h   m o s t   o f   t h e   p r e s e n t a t i o n < / P r o b l e m T o o l t i p >  
         < I s s u e C o n t e x t > 2 . 0 3 < / I s s u e C o n t e x t >  
         < I s s u e C o n t e x t L i n e > 2 . 0 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6 < / S h a p e I n d e x >  
                 < S h a p e I n d e x e s / >  
                 < I s s u e W o r d > 2 . 0 3 < / I s s u e W o r d >  
                 < W o r d I n d e x > 1 < / W o r d I n d e x >  
                 < D e c i m a l I n d e x I n W o r d > 0 < / D e c i m a l I n d e x I n W o r d >  
                 < I s M u l t i p l e D e c i m a l W o r d > f a l s e < / I s M u l t i p l e D e c i m a l W o r d >  
                 < S h a p e I D > 1 2 5 < / 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5 9 a 9 d 0 b - a 6 1 2 - 4 4 8 0 - 8 a f b - 6 2 5 7 e 7 b 1 1 b 3 6 < / P r o b l e m N u m b e r >  
         < P r o p e r t y > D e c i m a l   P r e c i s i o n < / P r o p e r t y >  
         < P r o b l e m T o o l t i p > T h i s   d e c i m a l   p r e c i s i o n   i s   i n c o n s i s t e n t   w i t h   m o s t   o f   t h e   p r e s e n t a t i o n < / P r o b l e m T o o l t i p >  
         < I s s u e C o n t e x t > 0 . 9 1 < / I s s u e C o n t e x t >  
         < I s s u e C o n t e x t L i n e > 0 . 9 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8 < / S h a p e I n d e x >  
                 < S h a p e I n d e x e s / >  
                 < I s s u e W o r d > 0 . 9 1 < / I s s u e W o r d >  
                 < W o r d I n d e x > 1 < / W o r d I n d e x >  
                 < D e c i m a l I n d e x I n W o r d > 0 < / D e c i m a l I n d e x I n W o r d >  
                 < I s M u l t i p l e D e c i m a l W o r d > f a l s e < / I s M u l t i p l e D e c i m a l W o r d >  
                 < S h a p e I D > 1 2 9 < / S h a p e I D >  
                 < I s M s o T a b l e > f a l s e < / I s M s o T a b l e >  
                 < A p p l i e d S t y l e >  
                     < I s M i x e d S t y l e > f a l s e < / I s M i x e d S t y l e >  
                     < D e s c r i p t i o n S h o w B l a c k 1 > 0 . 9 < / 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9 < / 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0 b 4 4 5 6 a - 1 5 a b - 4 c 9 d - a a b 6 - 0 a 8 0 b 3 7 9 2 b a 9 < / P r o b l e m N u m b e r >  
         < P r o p e r t y > D e c i m a l   P r e c i s i o n < / P r o p e r t y >  
         < P r o b l e m T o o l t i p > T h i s   d e c i m a l   p r e c i s i o n   i s   i n c o n s i s t e n t   w i t h   m o s t   o f   t h e   p r e s e n t a t i o n < / P r o b l e m T o o l t i p >  
         < I s s u e C o n t e x t > 1 . 0 5 < / I s s u e C o n t e x t >  
         < I s s u e C o n t e x t L i n e > 1 . 0 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9 < / S h a p e I n d e x >  
                 < S h a p e I n d e x e s / >  
                 < I s s u e W o r d > 1 . 0 5 < / I s s u e W o r d >  
                 < W o r d I n d e x > 1 < / W o r d I n d e x >  
                 < D e c i m a l I n d e x I n W o r d > 0 < / D e c i m a l I n d e x I n W o r d >  
                 < I s M u l t i p l e D e c i m a l W o r d > f a l s e < / I s M u l t i p l e D e c i m a l W o r d >  
                 < S h a p e I D > 1 6 8 < / S h a p e I D >  
                 < I s M s o T a b l e > f a l s e < / I s M s o T a b l e >  
                 < A p p l i e d S t y l e >  
                     < I s M i x e d S t y l e > f a l s e < / I s M i x e d S t y l e >  
                     < D e s c r i p t i o n S h o w B l a c k 1 > 1 . < / 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b 7 8 d 6 8 8 - 4 0 3 3 - 4 f b c - a 5 4 8 - 3 2 7 d 6 e 1 9 6 d 0 b < / P r o b l e m N u m b e r >  
         < P r o p e r t y > D e c i m a l   P r e c i s i o n < / P r o p e r t y >  
         < P r o b l e m T o o l t i p > T h i s   d e c i m a l   p r e c i s i o n   i s   i n c o n s i s t e n t   w i t h   m o s t   o f   t h e   p r e s e n t a t i o n < / P r o b l e m T o o l t i p >  
         < I s s u e C o n t e x t > 2 . 0 3 < / I s s u e C o n t e x t >  
         < I s s u e C o n t e x t L i n e > 2 . 0 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0 < / S h a p e I n d e x >  
                 < S h a p e I n d e x e s / >  
                 < I s s u e W o r d > 2 . 0 3 < / I s s u e W o r d >  
                 < W o r d I n d e x > 1 < / W o r d I n d e x >  
                 < D e c i m a l I n d e x I n W o r d > 0 < / D e c i m a l I n d e x I n W o r d >  
                 < I s M u l t i p l e D e c i m a l W o r d > f a l s e < / I s M u l t i p l e D e c i m a l W o r d >  
                 < S h a p e I D > 1 6 1 < / 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1 7 6 4 f 1 9 - 3 a 7 1 - 4 9 7 f - 9 e 1 5 - a 5 2 8 2 3 0 9 b 3 3 5 < / P r o b l e m N u m b e r >  
         < P r o p e r t y > D e c i m a l   P r e c i s i o n < / P r o p e r t y >  
         < P r o b l e m T o o l t i p > T h i s   d e c i m a l   p r e c i s i o n   i s   i n c o n s i s t e n t   w i t h   m o s t   o f   t h e   p r e s e n t a t i o n < / P r o b l e m T o o l t i p >  
         < I s s u e C o n t e x t > 2 . 0 2 < / I s s u e C o n t e x t >  
         < I s s u e C o n t e x t L i n e > 2 . 0 2 < / 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2 < / S h a p e I n d e x >  
                 < S h a p e I n d e x e s / >  
                 < I s s u e W o r d > 2 . 0 2 < / I s s u e W o r d >  
                 < W o r d I n d e x > 1 < / W o r d I n d e x >  
                 < D e c i m a l I n d e x I n W o r d > 0 < / D e c i m a l I n d e x I n W o r d >  
                 < I s M u l t i p l e D e c i m a l W o r d > f a l s e < / I s M u l t i p l e D e c i m a l W o r d >  
                 < S h a p e I D > 1 6 7 < / 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9 5 0 4 f f 1 - d 2 d 8 - 4 1 3 e - 8 f c e - 5 4 d 8 b 7 7 b a e 7 f < / P r o b l e m N u m b e r >  
         < P r o p e r t y > D e c i m a l   P r e c i s i o n < / P r o p e r t y >  
         < P r o b l e m T o o l t i p > T h i s   d e c i m a l   p r e c i s i o n   i s   i n c o n s i s t e n t   w i t h   m o s t   o f   t h e   p r e s e n t a t i o n < / P r o b l e m T o o l t i p >  
         < I s s u e C o n t e x t > 3 . 0 8 < / I s s u e C o n t e x t >  
         < I s s u e C o n t e x t L i n e > 3 . 0 8 < / 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3 < / S h a p e I n d e x >  
                 < S h a p e I n d e x e s / >  
                 < I s s u e W o r d > 3 . 0 8 < / I s s u e W o r d >  
                 < W o r d I n d e x > 1 < / W o r d I n d e x >  
                 < D e c i m a l I n d e x I n W o r d > 0 < / D e c i m a l I n d e x I n W o r d >  
                 < I s M u l t i p l e D e c i m a l W o r d > f a l s e < / I s M u l t i p l e D e c i m a l W o r d >  
                 < S h a p e I D > 1 6 6 < / S h a p e I D >  
                 < I s M s o T a b l e > f a l s e < / I s M s o T a b l e >  
                 < A p p l i e d S t y l e >  
                     < I s M i x e d S t y l e > f a l s e < / I s M i x e d S t y l e >  
                     < D e s c r i p t i o n S h o w B l a c k 1 > 3 . < / 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3 . 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0 4 3 3 9 9 e - 6 3 a 5 - 4 0 0 d - a 2 3 f - 7 5 5 6 8 0 8 1 8 f 5 b < / P r o b l e m N u m b e r >  
         < P r o p e r t y > D e c i m a l   P r e c i s i o n < / P r o p e r t y >  
         < P r o b l e m T o o l t i p > T h i s   d e c i m a l   p r e c i s i o n   i s   i n c o n s i s t e n t   w i t h   m o s t   o f   t h e   p r e s e n t a t i o n < / P r o b l e m T o o l t i p >  
         < I s s u e C o n t e x t > 3 . 7 1 < / I s s u e C o n t e x t >  
         < I s s u e C o n t e x t L i n e > 3 . 7 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5 < / S h a p e I n d e x >  
                 < S h a p e I n d e x e s / >  
                 < I s s u e W o r d > 3 . 7 1 < / I s s u e W o r d >  
                 < W o r d I n d e x > 1 < / W o r d I n d e x >  
                 < D e c i m a l I n d e x I n W o r d > 0 < / D e c i m a l I n d e x I n W o r d >  
                 < I s M u l t i p l e D e c i m a l W o r d > f a l s e < / I s M u l t i p l e D e c i m a l W o r d >  
                 < S h a p e I D > 1 1 3 < / S h a p e I D >  
                 < I s M s o T a b l e > f a l s e < / I s M s o T a b l e >  
                 < A p p l i e d S t y l e >  
                     < I s M i x e d S t y l e > f a l s e < / I s M i x e d S t y l e >  
                     < D e s c r i p t i o n S h o w B l a c k 1 > 3 . 7 < / 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7 < / 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c f 0 f f b 7 - b f 9 0 - 4 1 f c - a 0 2 1 - e d c 5 b a c f 2 a 2 5 < / P r o b l e m N u m b e r >  
         < P r o p e r t y > D e c i m a l   P r e c i s i o n < / P r o p e r t y >  
         < P r o b l e m T o o l t i p > T h i s   d e c i m a l   p r e c i s i o n   i s   i n c o n s i s t e n t   w i t h   m o s t   o f   t h e   p r e s e n t a t i o n < / P r o b l e m T o o l t i p >  
         < I s s u e C o n t e x t > 1 . 0 5 < / I s s u e C o n t e x t >  
         < I s s u e C o n t e x t L i n e > 1 . 0 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6 < / S h a p e I n d e x >  
                 < S h a p e I n d e x e s / >  
                 < I s s u e W o r d > 1 . 0 5 < / I s s u e W o r d >  
                 < W o r d I n d e x > 1 < / W o r d I n d e x >  
                 < D e c i m a l I n d e x I n W o r d > 0 < / D e c i m a l I n d e x I n W o r d >  
                 < I s M u l t i p l e D e c i m a l W o r d > f a l s e < / I s M u l t i p l e D e c i m a l W o r d >  
                 < S h a p e I D > 1 8 1 < / S h a p e I D >  
                 < I s M s o T a b l e > f a l s e < / I s M s o T a b l e >  
                 < A p p l i e d S t y l e >  
                     < I s M i x e d S t y l e > f a l s e < / I s M i x e d S t y l e >  
                     < D e s c r i p t i o n S h o w B l a c k 1 > 1 . < / 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f 3 6 1 a b a - 6 e 6 0 - 4 a e e - a 2 8 5 - 7 6 d d 7 b f 8 d 5 6 0 < / P r o b l e m N u m b e r >  
         < P r o p e r t y > D e c i m a l   P r e c i s i o n < / P r o p e r t y >  
         < P r o b l e m T o o l t i p > T h i s   d e c i m a l   p r e c i s i o n   i s   i n c o n s i s t e n t   w i t h   m o s t   o f   t h e   p r e s e n t a t i o n < / P r o b l e m T o o l t i p >  
         < I s s u e C o n t e x t > 3 . 3 3 < / I s s u e C o n t e x t >  
         < I s s u e C o n t e x t L i n e > 3 . 3 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1 < / S h a p e I n d e x >  
                 < S h a p e I n d e x e s / >  
                 < I s s u e W o r d > 3 . 3 3 < / I s s u e W o r d >  
                 < W o r d I n d e x > 1 < / W o r d I n d e x >  
                 < D e c i m a l I n d e x I n W o r d > 0 < / D e c i m a l I n d e x I n W o r d >  
                 < I s M u l t i p l e D e c i m a l W o r d > f a l s e < / I s M u l t i p l e D e c i m a l W o r d >  
                 < S h a p e I D > 1 6 0 < / S h a p e I D >  
                 < I s M s o T a b l e > f a l s e < / I s M s o T a b l e >  
                 < A p p l i e d S t y l e >  
                     < I s M i x e d S t y l e > f a l s e < / I s M i x e d S t y l e >  
                     < D e s c r i p t i o n S h o w B l a c k 1 > 3 . 3 < / 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3 < / 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5 a 8 4 7 e 8 - b b c 1 - 4 2 1 e - a e 4 2 - 1 3 f 9 e 2 e 6 1 2 b e < / P r o b l e m N u m b e r >  
         < P r o p e r t y > D e c i m a l   P r e c i s i o n < / P r o p e r t y >  
         < P r o b l e m T o o l t i p > T h i s   d e c i m a l   p r e c i s i o n   i s   i n c o n s i s t e n t   w i t h   m o s t   o f   t h e   p r e s e n t a t i o n < / P r o b l e m T o o l t i p >  
         < I s s u e C o n t e x t > 1 . 9 2 < / I s s u e C o n t e x t >  
         < I s s u e C o n t e x t L i n e > 1 . 9 2 < / 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2 < / S h a p e I n d e x >  
                 < S h a p e I n d e x e s / >  
                 < I s s u e W o r d > 1 . 9 2 < / I s s u e W o r d >  
                 < W o r d I n d e x > 1 < / W o r d I n d e x >  
                 < D e c i m a l I n d e x I n W o r d > 0 < / D e c i m a l I n d e x I n W o r d >  
                 < I s M u l t i p l e D e c i m a l W o r d > f a l s e < / I s M u l t i p l e D e c i m a l W o r d >  
                 < S h a p e I D > 1 8 0 < / S h a p e I D >  
                 < I s M s o T a b l e > f a l s e < / I s M s o T a b l e >  
                 < A p p l i e d S t y l e >  
                     < I s M i x e d S t y l e > f a l s e < / I s M i x e d S t y l e >  
                     < D e s c r i p t i o n S h o w B l a c k 1 > 1 . 9 < / 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1 . 9 < / 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b b 9 0 2 8 e - b 5 e 0 - 4 4 0 6 - b b e 7 - 8 8 7 a 6 9 d 1 7 0 e 4 < / 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3 < / S h a p e I n d e x >  
                 < S h a p e I n d e x e s / >  
                 < I s s u e W o r d > 0 . 6 0 < / I s s u e W o r d >  
                 < W o r d I n d e x > 1 < / W o r d I n d e x >  
                 < D e c i m a l I n d e x I n W o r d > 0 < / D e c i m a l I n d e x I n W o r d >  
                 < I s M u l t i p l e D e c i m a l W o r d > f a l s e < / I s M u l t i p l e D e c i m a l W o r d >  
                 < S h a p e I D > 7 5 < / 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9 1 a a a d 1 - 9 7 2 b - 4 8 3 8 - 9 e 7 3 - f 9 3 2 c a 1 9 3 2 8 3 < / P r o b l e m N u m b e r >  
         < P r o p e r t y > D e c i m a l   P r e c i s i o n < / P r o p e r t y >  
         < P r o b l e m T o o l t i p > T h i s   d e c i m a l   p r e c i s i o n   i s   i n c o n s i s t e n t   w i t h   m o s t   o f   t h e   p r e s e n t a t i o n < / P r o b l e m T o o l t i p >  
         < I s s u e C o n t e x t > 2 . 4 5 < / I s s u e C o n t e x t >  
         < I s s u e C o n t e x t L i n e > 2 . 4 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4 < / S h a p e I n d e x >  
                 < S h a p e I n d e x e s / >  
                 < I s s u e W o r d > 2 . 4 5 < / I s s u e W o r d >  
                 < W o r d I n d e x > 1 < / W o r d I n d e x >  
                 < D e c i m a l I n d e x I n W o r d > 0 < / D e c i m a l I n d e x I n W o r d >  
                 < I s M u l t i p l e D e c i m a l W o r d > f a l s e < / I s M u l t i p l e D e c i m a l W o r d >  
                 < S h a p e I D > 1 3 0 < / S h a p e I D >  
                 < I s M s o T a b l e > f a l s e < / I s M s o T a b l e >  
                 < A p p l i e d S t y l e >  
                     < I s M i x e d S t y l e > f a l s e < / I s M i x e d S t y l e >  
                     < D e s c r i p t i o n S h o w B l a c k 1 > 2 . < / D e s c r i p t i o n S h o w B l a c k 1 >  
                     < D e s c r i p t i o n S h o w R e d 1 > 5 < / D e s c r i p t i o n S h o w R e d 1 >  
                     < C o l u m n 4 W i d t h > 6 5 < / C o l u m n 4 W i d t h >  
                     < F r e q u e n c y > 1 2 1 < / F r e q u e n c y >  
                     < S h o w F r e q u e n c y I n P e r c e n t a g e > f a l s e < / S h o w F r e q u e n c y I n P e r c e n t a g e >  
                     < F r e q u e n c y D e s c r i p t i o n > u s e s < / F r e q u e n c y D e s c r i p t i o n >  
                     < C o d e > 0 < / C o d e >  
                     < S e l e c t e d V a l u e   x s i : t y p e = " x s d : s t r i n g " > 2 . 5 < / 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c 5 1 0 5 8 8 1 - f 8 4 c - 4 e 5 f - b 7 0 6 - 5 1 f 9 9 4 0 7 a a 9 a < / 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5 < / S h a p e I n d e x >  
                 < S h a p e I n d e x e s / >  
                 < I s s u e W o r d > 0 . 6 0 < / I s s u e W o r d >  
                 < W o r d I n d e x > 1 < / W o r d I n d e x >  
                 < D e c i m a l I n d e x I n W o r d > 0 < / D e c i m a l I n d e x I n W o r d >  
                 < I s M u l t i p l e D e c i m a l W o r d > f a l s e < / I s M u l t i p l e D e c i m a l W o r d >  
                 < S h a p e I D > 1 3 7 < / 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7 f 9 7 e 3 7 - f 2 4 5 - 4 4 5 b - 9 b a d - f 5 2 a 0 6 a f 1 e c e < / P r o b l e m N u m b e r >  
         < P r o p e r t y > D e c i m a l   P r e c i s i o n < / P r o p e r t y >  
         < P r o b l e m T o o l t i p > T h i s   d e c i m a l   p r e c i s i o n   i s   i n c o n s i s t e n t   w i t h   m o s t   o f   t h e   p r e s e n t a t i o n < / P r o b l e m T o o l t i p >  
         < I s s u e C o n t e x t > 3 . 4 0 < / I s s u e C o n t e x t >  
         < I s s u e C o n t e x t L i n e > 3 . 4 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6 < / S h a p e I n d e x >  
                 < S h a p e I n d e x e s / >  
                 < I s s u e W o r d > 3 . 4 0 < / I s s u e W o r d >  
                 < W o r d I n d e x > 1 < / W o r d I n d e x >  
                 < D e c i m a l I n d e x I n W o r d > 0 < / D e c i m a l I n d e x I n W o r d >  
                 < I s M u l t i p l e D e c i m a l W o r d > f a l s e < / I s M u l t i p l e D e c i m a l W o r d >  
                 < S h a p e I D > 1 2 4 < / S h a p e I D >  
                 < I s M s o T a b l e > f a l s e < / I s M s o T a b l e >  
                 < A p p l i e d S t y l e >  
                     < I s M i x e d S t y l e > f a l s e < / I s M i x e d S t y l e >  
                     < D e s c r i p t i o n S h o w B l a c k 1 > 3 . 4 < / 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4 < / 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f 0 d f d c 5 - 0 2 b 1 - 4 e b 2 - a d 3 a - e 9 4 f b c 1 7 5 6 5 9 < / P r o b l e m N u m b e r >  
         < P r o p e r t y > D e c i m a l   P r e c i s i o n < / P r o p e r t y >  
         < P r o b l e m T o o l t i p > T h i s   d e c i m a l   p r e c i s i o n   i s   i n c o n s i s t e n t   w i t h   m o s t   o f   t h e   p r e s e n t a t i o n < / P r o b l e m T o o l t i p >  
         < I s s u e C o n t e x t > 1 . 1 0 < / I s s u e C o n t e x t >  
         < I s s u e C o n t e x t L i n e > 1 . 1 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8 < / S h a p e I n d e x >  
                 < S h a p e I n d e x e s / >  
                 < I s s u e W o r d > 1 . 1 0 < / I s s u e W o r d >  
                 < W o r d I n d e x > 1 < / W o r d I n d e x >  
                 < D e c i m a l I n d e x I n W o r d > 0 < / D e c i m a l I n d e x I n W o r d >  
                 < I s M u l t i p l e D e c i m a l W o r d > f a l s e < / I s M u l t i p l e D e c i m a l W o r d >  
                 < S h a p e I D > 1 1 5 < / S h a p e I D >  
                 < I s M s o T a b l e > f a l s e < / I s M s o T a b l e >  
                 < A p p l i e d S t y l e >  
                     < I s M i x e d S t y l e > f a l s e < / I s M i x e d S t y l e >  
                     < D e s c r i p t i o n S h o w B l a c k 1 > 1 . 1 < / 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b f e 7 6 4 7 - a 1 e b - 4 2 c b - a 2 7 f - 9 7 5 e a 4 1 2 6 5 e f < / P r o b l e m N u m b e r >  
         < P r o p e r t y > D e c i m a l   P r e c i s i o n < / P r o p e r t y >  
         < P r o b l e m T o o l t i p > T h i s   d e c i m a l   p r e c i s i o n   i s   i n c o n s i s t e n t   w i t h   m o s t   o f   t h e   p r e s e n t a t i o n < / P r o b l e m T o o l t i p >  
         < I s s u e C o n t e x t > 2 . 6 1 < / I s s u e C o n t e x t >  
         < I s s u e C o n t e x t L i n e > 2 . 6 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9 < / S h a p e I n d e x >  
                 < S h a p e I n d e x e s / >  
                 < I s s u e W o r d > 2 . 6 1 < / I s s u e W o r d >  
                 < W o r d I n d e x > 1 < / W o r d I n d e x >  
                 < D e c i m a l I n d e x I n W o r d > 0 < / D e c i m a l I n d e x I n W o r d >  
                 < I s M u l t i p l e D e c i m a l W o r d > f a l s e < / I s M u l t i p l e D e c i m a l W o r d >  
                 < S h a p e I D > 1 1 4 < / S h a p e I D >  
                 < I s M s o T a b l e > f a l s e < / I s M s o T a b l e >  
                 < A p p l i e d S t y l e >  
                     < I s M i x e d S t y l e > f a l s e < / I s M i x e d S t y l e >  
                     < D e s c r i p t i o n S h o w B l a c k 1 > 2 . 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8 c 8 b e 3 e - 5 e 3 6 - 4 1 f 9 - b 5 4 1 - 3 3 a b b 9 a b 1 1 4 4 < / P r o b l e m N u m b e r >  
         < P r o p e r t y > D e c i m a l   P r e c i s i o n < / P r o p e r t y >  
         < P r o b l e m T o o l t i p > T h i s   d e c i m a l   p r e c i s i o n   i s   i n c o n s i s t e n t   w i t h   m o s t   o f   t h e   p r e s e n t a t i o n < / P r o b l e m T o o l t i p >  
         < I s s u e C o n t e x t > 3 . 9 6 < / I s s u e C o n t e x t >  
         < I s s u e C o n t e x t L i n e > 3 . 9 6 < / 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6 0 < / S h a p e I n d e x >  
                 < S h a p e I n d e x e s / >  
                 < I s s u e W o r d > 3 . 9 6 < / I s s u e W o r d >  
                 < W o r d I n d e x > 1 < / W o r d I n d e x >  
                 < D e c i m a l I n d e x I n W o r d > 0 < / D e c i m a l I n d e x I n W o r d >  
                 < I s M u l t i p l e D e c i m a l W o r d > f a l s e < / I s M u l t i p l e D e c i m a l W o r d >  
                 < S h a p e I D > 1 3 8 < / S h a p e I D >  
                 < I s M s o T a b l e > f a l s e < / I s M s o T a b l e >  
                 < A p p l i e d S t y l e >  
                     < I s M i x e d S t y l e > f a l s e < / I s M i x e d S t y l e >  
                     < D e s c r i p t i o n S h o w B l a c k 1 / >  
                     < D e s c r i p t i o n S h o w R e d 1 > 4 . 0 < / D e s c r i p t i o n S h o w R e d 1 >  
                     < C o l u m n 4 W i d t h > 6 5 < / C o l u m n 4 W i d t h >  
                     < F r e q u e n c y > 1 2 1 < / F r e q u e n c y >  
                     < S h o w F r e q u e n c y I n P e r c e n t a g e > f a l s e < / S h o w F r e q u e n c y I n P e r c e n t a g e >  
                     < F r e q u e n c y D e s c r i p t i o n > u s e s < / F r e q u e n c y D e s c r i p t i o n >  
                     < C o d e > 0 < / C o d e >  
                     < S e l e c t e d V a l u e   x s i : t y p e = " x s d : s t r i n g " > 4 . 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5 b 5 8 2 0 2 - 3 d 2 b - 4 4 d d - 8 0 7 f - a 6 e 1 8 b d 8 5 6 d d < / P r o b l e m N u m b e r >  
         < P r o p e r t y > D e c i m a l   P r e c i s i o n < / P r o p e r t y >  
         < P r o b l e m T o o l t i p > T h i s   d e c i m a l   p r e c i s i o n   i s   i n c o n s i s t e n t   w i t h   m o s t   o f   t h e   p r e s e n t a t i o n < / P r o b l e m T o o l t i p >  
         < I s s u e C o n t e x t > 2 . 9 7 < / I s s u e C o n t e x t >  
         < I s s u e C o n t e x t L i n e > 2 . 9 7 < / 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9 . 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6 1 < / S h a p e I n d e x >  
                 < S h a p e I n d e x e s / >  
                 < I s s u e W o r d > 2 . 9 7 < / I s s u e W o r d >  
                 < W o r d I n d e x > 1 < / W o r d I n d e x >  
                 < D e c i m a l I n d e x I n W o r d > 0 < / D e c i m a l I n d e x I n W o r d >  
                 < I s M u l t i p l e D e c i m a l W o r d > f a l s e < / I s M u l t i p l e D e c i m a l W o r d >  
                 < S h a p e I D > 1 7 9 < / S h a p e I D >  
                 < I s M s o T a b l e > f a l s e < / I s M s o T a b l e >  
                 < A p p l i e d S t y l e >  
                     < I s M i x e d S t y l e > f a l s e < / I s M i x e d S t y l e >  
                     < D e s c r i p t i o n S h o w B l a c k 1 / >  
                     < D e s c r i p t i o n S h o w R e d 1 > 3 . 0 < / D e s c r i p t i o n S h o w R e d 1 >  
                     < C o l u m n 4 W i d t h > 6 5 < / C o l u m n 4 W i d t h >  
                     < F r e q u e n c y > 1 2 1 < / F r e q u e n c y >  
                     < S h o w F r e q u e n c y I n P e r c e n t a g e > f a l s e < / S h o w F r e q u e n c y I n P e r c e n t a g e >  
                     < F r e q u e n c y D e s c r i p t i o n > u s e s < / F r e q u e n c y D e s c r i p t i o n >  
                     < C o d e > 0 < / C o d e >  
                     < S e l e c t e d V a l u e   x s i : t y p e = " x s d : s t r i n g " > 3 . 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5 e 9 e 6 f a - 4 e 8 c - 4 f f e - 8 8 9 7 - 5 3 b 1 c 2 7 5 e 6 8 4 < / P r o b l e m N u m b e r >  
         < P r o p e r t y > P u n c t u a t i o n   S p a c i n g < / P r o p e r t y >  
         < P r o b l e m T o o l t i p > T h i s   s p a c i n g   a r o u n d   p u n c t u a t i o n   i s   i n c o n s i s t e n t   w i t h   m o s t   o f   t h e   p r e s e n t a t i o n < / P r o b l e m T o o l t i p >  
         < I s s u e C o n t e x t > 2 4 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2 4 p t < / L e f t P u n c t u a t i o n D e s c r i p t i o n >  
                 < R i g h t P u n c t u a t i o n D e s c r i p t i o n > , < / R i g h t P u n c t u a t i o n D e s c r i p t i o n >  
                 < S l i d e N u m b e r > 1 < / S l i d e N u m b e r >  
                 < S l i d e I n d e x > 2 < / S l i d e I n d e x >  
                 < L i n e N u m b e r > 1 < / L i n e N u m b e r >  
                 < S h a p e I n d e x > 5 < / S h a p e I n d e x >  
                 < S h a p e I n d e x e s / >  
                 < O c c u r i n g I n d e x > 1 < / 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6 < / 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c e 8 1 f 6 4 - 3 f 9 6 - 4 e a 0 - a 7 c c - f c 6 9 0 2 f 1 e b e 1 < / P r o b l e m N u m b e r >  
         < P r o p e r t y > P u n c t u a t i o n   S p a c i n g < / P r o p e r t y >  
         < P r o b l e m T o o l t i p > T h i s   s p a c i n g   a r o u n d   p u n c t u a t i o n   i s   i n c o n s i s t e n t   w i t h   m o s t   o f   t h e   p r e s e n t a t i o n < / P r o b l e m T o o l t i p >  
         < I s s u e C o n t e x t > 1 8 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1 8 p t < / L e f t P u n c t u a t i o n D e s c r i p t i o n >  
                 < R i g h t P u n c t u a t i o n D e s c r i p t i o n > , < / R i g h t P u n c t u a t i o n D e s c r i p t i o n >  
                 < S l i d e N u m b e r > 1 < / S l i d e N u m b e r >  
                 < S l i d e I n d e x > 2 < / S l i d e I n d e x >  
                 < L i n e N u m b e r > 1 < / L i n e N u m b e r >  
                 < S h a p e I n d e x > 5 < / S h a p e I n d e x >  
                 < S h a p e I n d e x e s / >  
                 < O c c u r i n g I n d e x > 3 < / 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4 2 < / 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8 4 e 9 3 0 9 - 5 e 7 c - 4 8 b 8 - a b 0 e - 5 4 9 5 d 6 d e 1 3 6 c < / P r o b l e m N u m b e r >  
         < P r o p e r t y > P u n c t u a t i o n   S p a c i n g < / P r o p e r t y >  
         < P r o b l e m T o o l t i p > T h i s   s p a c i n g   a r o u n d   p u n c t u a t i o n   i s   i n c o n s i s t e n t   w i t h   m o s t   o f   t h e   p r e s e n t a t i o n < / P r o b l e m T o o l t i p >  
         < I s s u e C o n t e x t > 9 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9 p t < / L e f t P u n c t u a t i o n D e s c r i p t i o n >  
                 < R i g h t P u n c t u a t i o n D e s c r i p t i o n > , < / R i g h t P u n c t u a t i o n D e s c r i p t i o n >  
                 < S l i d e N u m b e r > 1 < / S l i d e N u m b e r >  
                 < S l i d e I n d e x > 2 < / S l i d e I n d e x >  
                 < L i n e N u m b e r > 1 < / L i n e N u m b e r >  
                 < S h a p e I n d e x > 5 < / S h a p e I n d e x >  
                 < S h a p e I n d e x e s / >  
                 < O c c u r i n g I n d e x > 6 < / 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6 5 < / 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8 2 e 8 0 3 6 - 2 2 0 f - 4 4 0 9 - 9 6 7 a - e a d 3 8 0 2 0 1 c 0 2 < / P r o b l e m N u m b e r >  
         < P r o p e r t y > P u n c t u a t i o n   S p a c i n g < / P r o p e r t y >  
         < P r o b l e m T o o l t i p > T h i s   s p a c i n g   a r o u n d   p u n c t u a t i o n   i s   i n c o n s i s t e n t   w i t h   m o s t   o f   t h e   p r e s e n t a t i o n < / P r o b l e m T o o l t i p >  
         < I s s u e C o n t e x t > w /   K e y < / I s s u e C o n t e x t >  
         < I s s u e C o n t e x t L i n e > T w o   G r a p h s   C o m p a r i s o n :   E x a m p l e   w /   K e y   N o t e s < / I s s u e C o n t e x t L i n e >  
         < P r o b l e m D e s c r i p t i o n F o r e g r o u n d > # 9 9 9 9 9 9 < / P r o b l e m D e s c r i p t i o n F o r e g r o u n d >  
         < S e l e c t e d R e c o m m e n d e d S t y l e I n d e x > 0 < / S e l e c t e d R e c o m m e n d e d S t y l e I n d e x >  
         < C o d e > & a m p ; # x f 0 a d ; < / C o d e >  
         < m s S l i d e I D > 5 7 3 5 < / 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w < / L e f t P u n c t u a t i o n D e s c r i p t i o n >  
                 < R i g h t P u n c t u a t i o n D e s c r i p t i o n > K e y < / R i g h t P u n c t u a t i o n D e s c r i p t i o n >  
                 < S l i d e N u m b e r > 1 2 < / S l i d e N u m b e r >  
                 < S l i d e I n d e x > 1 3 < / S l i d e I n d e x >  
                 < L i n e N u m b e r > 1 < / L i n e N u m b e r >  
                 < S h a p e I n d e x > 2 2 5 < / S h a p e I n d e x >  
                 < S h a p e I n d e x e s / >  
                 < O c c u r i n g I n d e x > 2 < / O c c u r i n g I n d e x >  
                 < T a b l e R o w N u m b e r > 0 < / T a b l e R o w N u m b e r >  
                 < T a b l e C e l l N u m b e r > 0 < / T a b l e C e l l N u m b e r >  
                 < S h a p e I D > 4 < / S h a p e I D >  
                 < R o w I n d e x > 0 < / R o w I n d e x >  
                 < C o l u m n I n d e x > 0 < / C o l u m n I n d e x >  
                 < A p p l i e d I n d e x > 0 < / A p p l i e d I n d e x >  
                 < I s M s o T a b l e > f a l s e < / I s M s o T a b l e >  
                 < I s T r a i l i n g S p a c e > f a l s e < / I s T r a i l i n g S p a c e >  
                 < P u n c t u a t i o n W i t h S p a c e > /   < / P u n c t u a t i o n W i t h S p a c e >  
                 < P u n c t u a t i o n M a r k > / < / P u n c t u a t i o n M a r k >  
                 < P u n c t u a t i o n I n d e x > 3 2 < / 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c 5 5 d 4 a 9 - 9 d 5 5 - 4 0 1 9 - 9 d 5 1 - b 7 b 9 4 a 9 6 8 e 9 4 < / P r o b l e m N u m b e r >  
         < P r o p e r t y > P u n c t u a t i o n   S p a c i n g < / P r o p e r t y >  
         < P r o b l e m T o o l t i p > T h i s   s p a c i n g   a r o u n d   p u n c t u a t i o n   i s   i n c o n s i s t e n t   w i t h   m o s t   o f   t h e   p r e s e n t a t i o n < / P r o b l e m T o o l t i p >  
         < I s s u e C o n t e x t > w /   K e y < / I s s u e C o n t e x t >  
         < I s s u e C o n t e x t L i n e > S i z e   C o m p a r i s o n :   E x a m p l e   w /   K e y   N o t e s < / I s s u e C o n t e x t L i n e >  
         < P r o b l e m D e s c r i p t i o n F o r e g r o u n d > # 9 9 9 9 9 9 < / P r o b l e m D e s c r i p t i o n F o r e g r o u n d >  
         < S e l e c t e d R e c o m m e n d e d S t y l e I n d e x > 0 < / S e l e c t e d R e c o m m e n d e d S t y l e I n d e x >  
         < C o d e > & a m p ; # x f 0 a d ; < / C o d e >  
         < m s S l i d e I D > 5 7 3 9 < / 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w < / L e f t P u n c t u a t i o n D e s c r i p t i o n >  
                 < R i g h t P u n c t u a t i o n D e s c r i p t i o n > K e y < / R i g h t P u n c t u a t i o n D e s c r i p t i o n >  
                 < S l i d e N u m b e r > 1 6 < / S l i d e N u m b e r >  
                 < S l i d e I n d e x > 1 7 < / S l i d e I n d e x >  
                 < L i n e N u m b e r > 1 < / L i n e N u m b e r >  
                 < S h a p e I n d e x > 3 0 < / S h a p e I n d e x >  
                 < S h a p e I n d e x e s / >  
                 < O c c u r i n g I n d e x > 2 < / O c c u r i n g I n d e x >  
                 < T a b l e R o w N u m b e r > 0 < / T a b l e R o w N u m b e r >  
                 < T a b l e C e l l N u m b e r > 0 < / T a b l e C e l l N u m b e r >  
                 < S h a p e I D > 2 < / S h a p e I D >  
                 < R o w I n d e x > 0 < / R o w I n d e x >  
                 < C o l u m n I n d e x > 0 < / C o l u m n I n d e x >  
                 < A p p l i e d I n d e x > 0 < / A p p l i e d I n d e x >  
                 < I s M s o T a b l e > f a l s e < / I s M s o T a b l e >  
                 < I s T r a i l i n g S p a c e > f a l s e < / I s T r a i l i n g S p a c e >  
                 < P u n c t u a t i o n W i t h S p a c e > /   < / P u n c t u a t i o n W i t h S p a c e >  
                 < P u n c t u a t i o n M a r k > / < / P u n c t u a t i o n M a r k >  
                 < P u n c t u a t i o n I n d e x > 2 6 < / 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8 0 5 b f b 9 - 9 d 6 0 - 4 5 b 2 - a 3 5 b - 2 e 8 9 2 8 a 5 5 2 e 0 < / P r o b l e m N u m b e r >  
         < P r o p e r t y > P u n c t u a t i o n   S p a c i n g < / P r o p e r t y >  
         < P r o b l e m T o o l t i p > T h i s   s p a c i n g   a r o u n d   p u n c t u a t i o n   i s   i n c o n s i s t e n t   w i t h   m o s t   o f   t h e   p r e s e n t a t i o n < / P r o b l e m T o o l t i p >  
         < I s s u e C o n t e x t > ( 1 / 3 ) < / I s s u e C o n t e x t >  
         < I s s u e C o n t e x t L i n e > C o m p a n y   O v e r v i e w   ( 1 / 3 ) < / I s s u e C o n t e x t L i n e >  
         < P r o b l e m D e s c r i p t i o n F o r e g r o u n d > # 9 9 9 9 9 9 < / P r o b l e m D e s c r i p t i o n F o r e g r o u n d >  
         < S e l e c t e d R e c o m m e n d e d S t y l e I n d e x > 0 < / S e l e c t e d R e c o m m e n d e d S t y l e I n d e x >  
         < C o d e > & a m p ; # x f 0 a d ; < / C o d e >  
         < m s S l i d e I D > 4 9 8 1 < / 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1 < / L e f t P u n c t u a t i o n D e s c r i p t i o n >  
                 < R i g h t P u n c t u a t i o n D e s c r i p t i o n > 3 ) < / R i g h t P u n c t u a t i o n D e s c r i p t i o n >  
                 < S l i d e N u m b e r > 3 4 < / S l i d e N u m b e r >  
                 < S l i d e I n d e x > 3 5 < / S l i d e I n d e x >  
                 < L i n e N u m b e r > 1 < / L i n e N u m b e r >  
                 < S h a p e I n d e x > 3 < / S h a p e I n d e x >  
                 < S h a p e I n d e x e s / >  
                 < O c c u r i n g I n d e x > 1 < / O c c u r i n g I n d e x >  
                 < T a b l e R o w N u m b e r > 0 < / T a b l e R o w N u m b e r >  
                 < T a b l e C e l l N u m b e r > 0 < / T a b l e C e l l N u m b e r >  
                 < S h a p e I D > 2 0 5 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9 < / 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9 3 4 8 c 2 5 - 7 5 f c - 4 8 2 7 - 8 2 b 4 - 6 a 2 1 2 d 8 1 9 4 e 0 < / P r o b l e m N u m b e r >  
         < P r o p e r t y > P u n c t u a t i o n   S p a c i n g < / P r o p e r t y >  
         < P r o b l e m T o o l t i p > T h i s   s p a c i n g   a r o u n d   p u n c t u a t i o n   i s   i n c o n s i s t e n t   w i t h   m o s t   o f   t h e   p r e s e n t a t i o n < / P r o b l e m T o o l t i p >  
         < I s s u e C o n t e x t > ( # / # ) < / I s s u e C o n t e x t >  
         < I s s u e C o n t e x t L i n e > O v e r v i e w   ( # / # ) < / I s s u e C o n t e x t L i n e >  
         < P r o b l e m D e s c r i p t i o n F o r e g r o u n d > # 9 9 9 9 9 9 < / P r o b l e m D e s c r i p t i o n F o r e g r o u n d >  
         < S e l e c t e d R e c o m m e n d e d S t y l e I n d e x > 0 < / S e l e c t e d R e c o m m e n d e d S t y l e I n d e x >  
         < C o d e > & a m p ; # x f 0 a d ; < / C o d e >  
         < m s S l i d e I D > 4 9 8 1 < / m s S l i d e I D >  
         < X M L A l g o r i t h m   t y p e = " P o w e r P o i n t A d d I n . A l g o r i t h m s . C o n t e n t . C o n t e n t P u n c t u a t i o n S p a c i n g ,   A s t u t e P o w e r P o i n t A d d I n ,   V e r s i o n = 1 . 0 . 3 9 . 0 ,   C u l t u r e = n e u t r a l ,   P u b l i c K e y T o k e n = n u l l " >  
             < C o n t e n t P u n c t u a t i o n S p a c i n g >  
                 < F i x I n d e x > 0 < / F i x I n d e x >  
                 < U n d o I n d e x > 0 < / U n d o I n d e x >  
                 < L e f t P u n c t u a t i o n D e s c r i p t i o n > ( # < / L e f t P u n c t u a t i o n D e s c r i p t i o n >  
                 < R i g h t P u n c t u a t i o n D e s c r i p t i o n > # ) < / R i g h t P u n c t u a t i o n D e s c r i p t i o n >  
                 < S l i d e N u m b e r > 3 4 < / S l i d e N u m b e r >  
                 < S l i d e I n d e x > 3 5 < / S l i d e I n d e x >  
                 < L i n e N u m b e r > 1 < / L i n e N u m b e r >  
                 < S h a p e I n d e x > 5 1 < / S h a p e I n d e x >  
                 < S h a p e I n d e x e s / >  
                 < O c c u r i n g I n d e x > 1 < / O c c u r i n g I n d e x >  
                 < T a b l e R o w N u m b e r > 0 < / T a b l e R o w N u m b e r >  
                 < T a b l e C e l l N u m b e r > 0 < / T a b l e C e l l N u m b e r >  
                 < S h a p e I D > 1 2 < / 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1 < / 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6 0 f 4 d 7 3 - 3 0 b 5 - 4 a 5 c - 8 2 6 6 - 0 9 1 0 f f b b c a 4 d < / P r o b l e m N u m b e r >  
         < P r o p e r t y > P u n c t u a t i o n   S p a c i n g < / P r o p e r t y >  
         < P r o b l e m T o o l t i p > T h i s   s p a c i n g   a r o u n d   p u n c t u a t i o n   i s   i n c o n s i s t e n t   w i t h   m o s t   o f   t h e   p r e s e n t a t i o n < / P r o b l e m T o o l t i p >  
         < I s s u e C o n t e x t > ( 1 / 3 ) < / I s s u e C o n t e x t >  
         < I s s u e C o n t e x t L i n e > C o m p a n y   O v e r v i e w   ( 1 / 3 ) < / I s s u e C o n t e x t L i n e >  
         < P r o b l e m D e s c r i p t i o n F o r e g r o u n d > # 9 9 9 9 9 9 < / P r o b l e m D e s c r i p t i o n F o r e g r o u n d >  
         < S e l e c t e d R e c o m m e n d e d S t y l e I n d e x > 0 < / S e l e c t e d R e c o m m e n d e d S t y l e I n d e x >  
         < C o d e > & a m p ; # x f 0 a d ; < / C o d e >  
         < m s S l i d e I D > 4 9 7 6 < / m s S l i d e I D >  
         < X M L A l g o r i t h m   t y p e = " P o w e r P o i n t A d d I n . A l g o r i t h m s . C o n t e n t . C o n t e n t P u n c t u a t i o n S p a c i n g ,   A s t u t e P o w e r P o i n t A d d I n ,   V e r s i o n = 1 . 0 . 3 9 . 0 ,   C u l t u r e = n e u t r a l ,   P u b l i c K e y T o k e n = n u l l " >  
             < C o n t e n t P u n c t u a t i o n S p a c i n g >  
                 < F i x I n d e x > 1 9 < / F i x I n d e x >  
                 < U n d o I n d e x > 1 9 < / U n d o I n d e x >  
                 < L e f t P u n c t u a t i o n D e s c r i p t i o n > ( 1 < / L e f t P u n c t u a t i o n D e s c r i p t i o n >  
                 < R i g h t P u n c t u a t i o n D e s c r i p t i o n > 3 ) < / R i g h t P u n c t u a t i o n D e s c r i p t i o n >  
                 < S l i d e N u m b e r > 3 5 < / S l i d e N u m b e r >  
                 < S l i d e I n d e x > 3 6 < / S l i d e I n d e x >  
                 < L i n e N u m b e r > 1 < / L i n e N u m b e r >  
                 < S h a p e I n d e x > 3 < / S h a p e I n d e x >  
                 < S h a p e I n d e x e s / >  
                 < O c c u r i n g I n d e x > 1 < / O c c u r i n g I n d e x >  
                 < T a b l e R o w N u m b e r > 0 < / T a b l e R o w N u m b e r >  
                 < T a b l e C e l l N u m b e r > 0 < / T a b l e C e l l N u m b e r >  
                 < S h a p e I D > 2 0 5 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9 < / 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0 4 f 7 6 5 c - 4 1 e 8 - 4 5 3 2 - b f a e - d 7 d d b 2 4 b a a e 0 < / P r o b l e m N u m b e r >  
         < P r o p e r t y > P u n c t u a t i o n   S p a c i n g < / P r o p e r t y >  
         < P r o b l e m T o o l t i p > T h i s   s p a c i n g   a r o u n d   p u n c t u a t i o n   i s   i n c o n s i s t e n t   w i t h   m o s t   o f   t h e   p r e s e n t a t i o n < / P r o b l e m T o o l t i p >  
         < I s s u e C o n t e x t > ( # / # ) < / I s s u e C o n t e x t >  
         < I s s u e C o n t e x t L i n e > O v e r v i e w   ( # / # ) < / I s s u e C o n t e x t L i n e >  
         < P r o b l e m D e s c r i p t i o n F o r e g r o u n d > # 9 9 9 9 9 9 < / P r o b l e m D e s c r i p t i o n F o r e g r o u n d >  
         < S e l e c t e d R e c o m m e n d e d S t y l e I n d e x > 0 < / S e l e c t e d R e c o m m e n d e d S t y l e I n d e x >  
         < C o d e > & a m p ; # x f 0 a d ; < / C o d e >  
         < m s S l i d e I D > 4 9 7 6 < / m s S l i d e I D >  
         < X M L A l g o r i t h m   t y p e = " P o w e r P o i n t A d d I n . A l g o r i t h m s . C o n t e n t . C o n t e n t P u n c t u a t i o n S p a c i n g ,   A s t u t e P o w e r P o i n t A d d I n ,   V e r s i o n = 1 . 0 . 3 9 . 0 ,   C u l t u r e = n e u t r a l ,   P u b l i c K e y T o k e n = n u l l " >  
             < C o n t e n t P u n c t u a t i o n S p a c i n g >  
                 < F i x I n d e x > 1 1 < / F i x I n d e x >  
                 < U n d o I n d e x > 1 1 < / U n d o I n d e x >  
                 < L e f t P u n c t u a t i o n D e s c r i p t i o n > ( # < / L e f t P u n c t u a t i o n D e s c r i p t i o n >  
                 < R i g h t P u n c t u a t i o n D e s c r i p t i o n > # ) < / R i g h t P u n c t u a t i o n D e s c r i p t i o n >  
                 < S l i d e N u m b e r > 3 5 < / S l i d e N u m b e r >  
                 < S l i d e I n d e x > 3 6 < / S l i d e I n d e x >  
                 < L i n e N u m b e r > 1 < / L i n e N u m b e r >  
                 < S h a p e I n d e x > 5 8 < / S h a p e I n d e x >  
                 < S h a p e I n d e x e s / >  
                 < O c c u r i n g I n d e x > 1 < / O c c u r i n g I n d e x >  
                 < T a b l e R o w N u m b e r > 0 < / T a b l e R o w N u m b e r >  
                 < T a b l e C e l l N u m b e r > 0 < / T a b l e C e l l N u m b e r >  
                 < S h a p e I D > 1 3 < / 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1 < / 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9 8 9 0 a 0 6 - f 8 2 e - 4 f 6 a - b c 9 d - d 4 3 3 8 9 4 f 8 c d 9 < / P r o b l e m N u m b e r >  
         < P r o p e r t y > P u n c t u a t i o n   S p a c i n g < / P r o p e r t y >  
         < P r o b l e m T o o l t i p > T h i s   s p a c i n g   a r o u n d   p u n c t u a t i o n   i s   i n c o n s i s t e n t   w i t h   m o s t   o f   t h e   p r e s e n t a t i o n < / P r o b l e m T o o l t i p >  
         < I s s u e C o n t e x t > U S A , - < / I s s u e C o n t e x t >  
         < I s s u e C o n t e x t L i n e > S c e n   5      N o r t h w e s t ,   P a l l e t   U S A , -   A s p e n ,   M i l l w o o d < / I s s u e C o n t e x t L i n e >  
         < P r o b l e m D e s c r i p t i o n F o r e g r o u n d > # 9 9 9 9 9 9 < / P r o b l e m D e s c r i p t i o n F o r e g r o u n d >  
         < S e l e c t e d R e c o m m e n d e d S t y l e I n d e x > 0 < / S e l e c t e d R e c o m m e n d e d S t y l e I n d e x >  
         < C o d e > & a m p ; # x f 0 a d ; < / C o d e >  
         < m s S l i d e I D > 5 6 9 9 < / m s S l i d e I D >  
         < X M L A l g o r i t h m   t y p e = " P o w e r P o i n t A d d I n . A l g o r i t h m s . C o n t e n t . C o n t e n t P u n c t u a t i o n S p a c i n g ,   A s t u t e P o w e r P o i n t A d d I n ,   V e r s i o n = 1 . 0 . 3 9 . 0 ,   C u l t u r e = n e u t r a l ,   P u b l i c K e y T o k e n = n u l l " >  
             < C o n t e n t P u n c t u a t i o n S p a c i n g >  
                 < F i x I n d e x > 3 0 < / F i x I n d e x >  
                 < U n d o I n d e x > 3 0 < / U n d o I n d e x >  
                 < L e f t P u n c t u a t i o n D e s c r i p t i o n > U S A < / L e f t P u n c t u a t i o n D e s c r i p t i o n >  
                 < R i g h t P u n c t u a t i o n D e s c r i p t i o n > - < / R i g h t P u n c t u a t i o n D e s c r i p t i o n >  
                 < S l i d e N u m b e r > 4 8 < / S l i d e N u m b e r >  
                 < S l i d e I n d e x > 4 9 < / S l i d e I n d e x >  
                 < L i n e N u m b e r > 1 < / L i n e N u m b e r >  
                 < S h a p e I n d e x > 4 8 < / S h a p e I n d e x >  
                 < S h a p e I n d e x e s / >  
                 < O c c u r i n g I n d e x > 2 < / O c c u r i n g I n d e x >  
                 < T a b l e R o w N u m b e r > 0 < / T a b l e R o w N u m b e r >  
                 < T a b l e C e l l N u m b e r > 0 < / T a b l e C e l l N u m b e r >  
                 < S h a p e I D > 1 7 5 < / 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3 0 < / P u n c t u a t i o n I n d e x >  
                 < I s L i n e E n d i n g > f a l s e < / I s L i n e E n d i n g >  
                 < A p p l i e d S t y l e >  
                     < I s M i x e d S t y l e > f a l s e < / I s M i x e d S t y l e >  
                     < D e s c r i p t i o n S h o w B l a c k 1 > U S A < / D e s c r i p t i o n S h o w B l a c k 1 >  
                     < D e s c r i p t i o n S h o w R e d 1 / >  
                     < D e s c r i p t i o n S h o w B l a c k 2 > , < / D e s c r i p t i o n S h o w B l a c k 2 >  
                     < D e s c r i p t i o n S h o w R e d 2 > �< / D e s c r i p t i o n S h o w R e d 2 >  
                     < D e s c r i p t i o n S h o w B l a c k 3 > - < / D e s c r i p t i o n S h o w B l a c k 3 >  
                     < C o l u m n 4 W i d t h > 6 5 < / C o l u m n 4 W i d t h >  
                     < F r e q u e n c y > 2 7 < / 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e d d f 2 7 e - 7 9 4 6 - 4 8 a 7 - 9 7 f b - 8 3 e c 9 5 f 4 4 3 7 b < / P r o b l e m N u m b e r >  
         < P r o p e r t y > P u n c t u a t i o n   S p a c i n g < / P r o p e r t y >  
         < P r o b l e m T o o l t i p > T h i s   s p a c i n g   a r o u n d   p u n c t u a t i o n   i s   i n c o n s i s t e n t   w i t h   m o s t   o f   t h e   p r e s e n t a t i o n < / P r o b l e m T o o l t i p >  
         < I s s u e C o n t e x t > U p d a t e / D e t a i l s < / I s s u e C o n t e x t >  
         < I s s u e C o n t e x t L i n e > U p d a t e / D e t a i l s < / I s s u e C o n t e x t L i n e >  
         < P r o b l e m D e s c r i p t i o n F o r e g r o u n d > # 9 9 9 9 9 9 < / P r o b l e m D e s c r i p t i o n F o r e g r o u n d >  
         < S e l e c t e d R e c o m m e n d e d S t y l e I n d e x > 0 < / S e l e c t e d R e c o m m e n d e d S t y l e I n d e x >  
         < C o d e > & a m p ; # x f 0 a d ; < / C o d e >  
         < m s S l i d e I D > 5 6 9 9 < / m s S l i d e I D >  
         < X M L A l g o r i t h m   t y p e = " P o w e r P o i n t A d d I n . A l g o r i t h m s . C o n t e n t . C o n t e n t P u n c t u a t i o n S p a c i n g ,   A s t u t e P o w e r P o i n t A d d I n ,   V e r s i o n = 1 . 0 . 3 9 . 0 ,   C u l t u r e = n e u t r a l ,   P u b l i c K e y T o k e n = n u l l " >  
             < C o n t e n t P u n c t u a t i o n S p a c i n g >  
                 < F i x I n d e x > 6 < / F i x I n d e x >  
                 < U n d o I n d e x > 6 < / U n d o I n d e x >  
                 < L e f t P u n c t u a t i o n D e s c r i p t i o n > U p d a t e < / L e f t P u n c t u a t i o n D e s c r i p t i o n >  
                 < R i g h t P u n c t u a t i o n D e s c r i p t i o n > D e t a i l s < / R i g h t P u n c t u a t i o n D e s c r i p t i o n >  
                 < S l i d e N u m b e r > 4 8 < / S l i d e N u m b e r >  
                 < S l i d e I n d e x > 4 9 < / S l i d e I n d e x >  
                 < L i n e N u m b e r > 1 < / L i n e N u m b e r >  
                 < S h a p e I n d e x > 7 1 < / S h a p e I n d e x >  
                 < S h a p e I n d e x e s / >  
                 < O c c u r i n g I n d e x > 1 < / O c c u r i n g I n d e x >  
                 < T a b l e R o w N u m b e r > 1 < / T a b l e R o w N u m b e r >  
                 < T a b l e C e l l N u m b e r > 2 < / T a b l e C e l l N u m b e r >  
                 < S h a p e I D > 8 9 < / 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6 < / 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0 3 1 3 9 0 7 - d c 9 9 - 4 a e 8 - a e d e - f 9 1 a 6 0 1 4 8 0 7 3 < / 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1 < / L e f t P u n c t u a t i o n D e s c r i p t i o n >  
                 < R i g h t P u n c t u a t i o n D e s c r i p t i o n > 5 8 : 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3 < / 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6 4 2 2 d 8 c - e 6 9 1 - 4 e 2 e - 8 a 4 0 - 9 5 6 7 4 a 7 3 6 8 a 0 < / 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4 < / F i x I n d e x >  
                 < U n d o I n d e x > 4 < / U n d o I n d e x >  
                 < L e f t P u n c t u a t i o n D e s c r i p t i o n > 1 : 5 8 < / 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3 < / 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2 c 9 a a e a - 0 7 f f - 4 4 6 8 - a 5 5 5 - 8 2 e 6 1 e 1 c e 1 6 1 < / 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0 < / L e f t P u n c t u a t i o n D e s c r i p t i o n >  
                 < R i g h t P u n c t u a t i o n D e s c r i p t i o n > 0 0 : 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5 < / 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e c 1 8 a f 0 - 6 1 1 2 - 4 6 2 9 - 9 2 a 8 - 0 6 b c c d f e b 9 e f < / 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4 < / F i x I n d e x >  
                 < U n d o I n d e x > 4 < / U n d o I n d e x >  
                 < L e f t P u n c t u a t i o n D e s c r i p t i o n > 0 : 0 0 < / 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5 < / 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c a f b 2 d b 1 - b c f d - 4 5 0 c - a 7 c 0 - 2 4 8 d 2 2 0 a 4 8 c 6 < / 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0 < / L e f t P u n c t u a t i o n D e s c r i p t i o n >  
                 < R i g h t P u n c t u a t i o n D e s c r i p t i o n > 0 0 : 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7 < / 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8 2 9 2 1 0 0 - b d 5 1 - 4 6 8 d - b 6 4 8 - b 0 6 2 9 7 8 8 d 7 7 9 < / 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4 < / F i x I n d e x >  
                 < U n d o I n d e x > 4 < / U n d o I n d e x >  
                 < L e f t P u n c t u a t i o n D e s c r i p t i o n > 0 : 0 0 < / 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7 < / 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6 a e 0 4 a - 2 2 3 d - 4 c 9 d - a 0 e 9 - b d 9 a b d a f 6 b 5 7 < / P r o b l e m N u m b e r >  
         < P r o p e r t y > P u n c t u a t i o n   S p a c i n g < / P r o p e r t y >  
         < P r o b l e m T o o l t i p > T h i s   s p a c i n g   a r o u n d   p u n c t u a t i o n   i s   i n c o n s i s t e n t   w i t h   m o s t   o f   t h e   p r e s e n t a t i o n < / P r o b l e m T o o l t i p >  
         < I s s u e C o n t e x t > 1 : 1 6 : 0 0 < / I s s u e C o n t e x t >  
         < I s s u e C o n t e x t L i n e > 1 : 1 6 : 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1 < / L e f t P u n c t u a t i o n D e s c r i p t i o n >  
                 < R i g h t P u n c t u a t i o n D e s c r i p t i o n > 1 6 : 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9 < / 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6 4 6 3 a 7 7 - f 0 0 9 - 4 5 a f - 9 8 d 7 - f 4 3 a 8 4 4 8 3 1 f 2 < / P r o b l e m N u m b e r >  
         < P r o p e r t y > P u n c t u a t i o n   S p a c i n g < / P r o p e r t y >  
         < P r o b l e m T o o l t i p > T h i s   s p a c i n g   a r o u n d   p u n c t u a t i o n   i s   i n c o n s i s t e n t   w i t h   m o s t   o f   t h e   p r e s e n t a t i o n < / P r o b l e m T o o l t i p >  
         < I s s u e C o n t e x t > 1 : 1 6 : 0 0 < / I s s u e C o n t e x t >  
         < I s s u e C o n t e x t L i n e > 1 : 1 6 : 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4 < / F i x I n d e x >  
                 < U n d o I n d e x > 4 < / U n d o I n d e x >  
                 < L e f t P u n c t u a t i o n D e s c r i p t i o n > 1 : 1 6 < / 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9 < / 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b c 9 3 6 5 5 - 3 5 a 6 - 4 c f f - a f c 7 - 6 7 d f a 1 a b e a e 8 < / 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1 < / L e f t P u n c t u a t i o n D e s c r i p t i o n >  
                 < R i g h t P u n c t u a t i o n D e s c r i p t i o n > 5 8 : 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1 1 < / 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3 b d 2 3 f 5 - f b 3 d - 4 3 7 5 - b a 4 b - a 3 4 6 0 a 2 1 e 1 4 f < / 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9 . 0 ,   C u l t u r e = n e u t r a l ,   P u b l i c K e y T o k e n = n u l l " >  
             < C o n t e n t P u n c t u a t i o n S p a c i n g >  
                 < F i x I n d e x > 4 < / F i x I n d e x >  
                 < U n d o I n d e x > 4 < / U n d o I n d e x >  
                 < L e f t P u n c t u a t i o n D e s c r i p t i o n > 1 : 5 8 < / 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1 1 < / 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b d 0 1 1 8 4 - f 3 c 0 - 4 1 1 5 - 9 8 a 8 - e 9 1 3 9 9 4 c 6 9 c 9 < / P r o b l e m N u m b e r >  
         < P r o p e r t y > P u n c t u a t i o n   S p a c i n g < / P r o p e r t y >  
         < P r o b l e m T o o l t i p > T h i s   s p a c i n g   a r o u n d   p u n c t u a t i o n   i s   i n c o n s i s t e n t   w i t h   m o s t   o f   t h e   p r e s e n t a t i o n < / P r o b l e m T o o l t i p >  
         < I s s u e C o n t e x t > ( 1 / 6 ) < / I s s u e C o n t e x t >  
         < I s s u e C o n t e x t L i n e > V A S   T o p   O p p o r t u n i t i e s :   B y   T i m e l i n e   & a m p ;   C r i t i c a l i t y   ( 1 / 6 ) < / I s s u e C o n t e x t L i n e >  
         < P r o b l e m D e s c r i p t i o n F o r e g r o u n d > # 9 9 9 9 9 9 < / P r o b l e m D e s c r i p t i o n F o r e g r o u n d >  
         < S e l e c t e d R e c o m m e n d e d S t y l e I n d e x > 0 < / S e l e c t e d R e c o m m e n d e d S t y l e I n d e x >  
         < C o d e > & a m p ; # x f 0 a d ; < / C o d e >  
         < m s S l i d e I D > 5 1 6 8 < / m s S l i d e I D >  
         < X M L A l g o r i t h m   t y p e = " P o w e r P o i n t A d d I n . A l g o r i t h m s . C o n t e n t . C o n t e n t P u n c t u a t i o n S p a c i n g ,   A s t u t e P o w e r P o i n t A d d I n ,   V e r s i o n = 1 . 0 . 3 9 . 0 ,   C u l t u r e = n e u t r a l ,   P u b l i c K e y T o k e n = n u l l " >  
             < C o n t e n t P u n c t u a t i o n S p a c i n g >  
                 < F i x I n d e x > 5 1 < / F i x I n d e x >  
                 < U n d o I n d e x > 5 1 < / U n d o I n d e x >  
                 < L e f t P u n c t u a t i o n D e s c r i p t i o n > ( 1 < / L e f t P u n c t u a t i o n D e s c r i p t i o n >  
                 < R i g h t P u n c t u a t i o n D e s c r i p t i o n > 6 ) < / R i g h t P u n c t u a t i o n D e s c r i p t i o n >  
                 < S l i d e N u m b e r > 5 8 < / S l i d e N u m b e r >  
                 < S l i d e I n d e x > 5 9 < / S l i d e I n d e x >  
                 < L i n e N u m b e r > 1 < / L i n e N u m b e r >  
                 < S h a p e I n d e x > 9 < / S h a p e I n d e x >  
                 < S h a p e I n d e x e s / >  
                 < O c c u r i n g I n d e x > 2 < / O c c u r i n g I n d e x >  
                 < T a b l e R o w N u m b e r > 0 < / T a b l e R o w N u m b e r >  
                 < T a b l e C e l l N u m b e r > 0 < / T a b l e C e l l N u m b e r >  
                 < S h a p e I D > 7 < / 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5 1 < / 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6 8 9 6 0 1 a - 3 9 b 2 - 4 8 6 c - b 1 3 3 - 0 9 5 6 f e 7 e e 3 1 8 < / P r o b l e m N u m b e r >  
         < P r o p e r t y > P u n c t u a t i o n   S p a c i n g < / P r o p e r t y >  
         < P r o b l e m T o o l t i p > T h i s   s p a c i n g   a r o u n d   p u n c t u a t i o n   i s   i n c o n s i s t e n t   w i t h   m o s t   o f   t h e   p r e s e n t a t i o n < / P r o b l e m T o o l t i p >  
         < I s s u e C o n t e x t > 1 . 	 T e x t < / I s s u e C o n t e x t >  
         < I s s u e C o n t e x t L i n e > 1 . 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1 < / 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2 < / 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a 8 3 c a 0 3 - 2 c f c - 4 0 3 c - 8 b b 7 - c e 6 5 6 9 1 d d c f 9 < / P r o b l e m N u m b e r >  
         < P r o p e r t y > P u n c t u a t i o n   S p a c i n g < / P r o p e r t y >  
         < P r o b l e m T o o l t i p > T h i s   s p a c i n g   a r o u n d   p u n c t u a t i o n   i s   i n c o n s i s t e n t   w i t h   m o s t   o f   t h e   p r e s e n t a t i o n < / P r o b l e m T o o l t i p >  
         < I s s u e C o n t e x t > 2 . 	 T e x t < / I s s u e C o n t e x t >  
         < I s s u e C o n t e x t L i n e > 2 . 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2 < / 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3 < / 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7 5 9 d 7 4 4 - 4 f 3 1 - 4 c b f - b 3 4 b - 1 9 0 7 8 5 4 1 e 8 5 f < / P r o b l e m N u m b e r >  
         < P r o p e r t y > P u n c t u a t i o n   S p a c i n g < / P r o p e r t y >  
         < P r o b l e m T o o l t i p > T h i s   s p a c i n g   a r o u n d   p u n c t u a t i o n   i s   i n c o n s i s t e n t   w i t h   m o s t   o f   t h e   p r e s e n t a t i o n < / P r o b l e m T o o l t i p >  
         < I s s u e C o n t e x t > 3 . 	 T e x t < / I s s u e C o n t e x t >  
         < I s s u e C o n t e x t L i n e > 3 . 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3 < / 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4 < / 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b e f 0 5 7 8 - 6 2 4 2 - 4 c 4 0 - 8 6 8 1 - 1 a c 2 5 b 0 0 5 3 3 e < / P r o b l e m N u m b e r >  
         < P r o p e r t y > P u n c t u a t i o n   S p a c i n g < / P r o p e r t y >  
         < P r o b l e m T o o l t i p > T h i s   s p a c i n g   a r o u n d   p u n c t u a t i o n   i s   i n c o n s i s t e n t   w i t h   m o s t   o f   t h e   p r e s e n t a t i o n < / P r o b l e m T o o l t i p >  
         < I s s u e C o n t e x t > 4 . 	 T e x t < / I s s u e C o n t e x t >  
         < I s s u e C o n t e x t L i n e > 4 . 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4 < / 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5 < / 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b 4 9 6 8 7 6 - 5 4 4 2 - 4 1 b f - b 2 d 0 - c 2 b c 8 6 4 c 7 4 9 8 < / P r o b l e m N u m b e r >  
         < P r o p e r t y > P u n c t u a t i o n   S p a c i n g < / P r o p e r t y >  
         < P r o b l e m T o o l t i p > T h i s   s p a c i n g   a r o u n d   p u n c t u a t i o n   i s   i n c o n s i s t e n t   w i t h   m o s t   o f   t h e   p r e s e n t a t i o n < / P r o b l e m T o o l t i p >  
         < I s s u e C o n t e x t > 5 . 	 T e x t < / I s s u e C o n t e x t >  
         < I s s u e C o n t e x t L i n e > 5 . 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9 . 0 ,   C u l t u r e = n e u t r a l ,   P u b l i c K e y T o k e n = n u l l " >  
             < C o n t e n t P u n c t u a t i o n S p a c i n g >  
                 < F i x I n d e x > 1 < / F i x I n d e x >  
                 < U n d o I n d e x > 1 < / U n d o I n d e x >  
                 < L e f t P u n c t u a t i o n D e s c r i p t i o n > 5 < / 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6 < / 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1 a 9 b 2 e 3 - 4 d 7 6 - 4 6 8 8 - b b 2 0 - a 1 1 4 c 3 5 5 0 9 b e < / 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9 . 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5 < / S h a p e I n d e x >  
                 < S h a p e I n d e x e s / >  
                 < O c c u r i n g I n d e x > 1 < / O c c u r i n g I n d e x >  
                 < T a b l e R o w N u m b e r > 0 < / T a b l e R o w N u m b e r >  
                 < T a b l e C e l l N u m b e r > 0 < / T a b l e C e l l N u m b e r >  
                 < S h a p e I D > 5 < / 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9 2 a 1 3 c 5 - b b c f - 4 3 8 4 - a b 4 7 - 5 1 5 3 c 9 7 1 1 e 8 a < / 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9 . 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1 < / S h a p e I n d e x >  
                 < S h a p e I n d e x e s / >  
                 < O c c u r i n g I n d e x > 1 < / O c c u r i n g I n d e x >  
                 < T a b l e R o w N u m b e r > 0 < / T a b l e R o w N u m b e r >  
                 < T a b l e C e l l N u m b e r > 0 < / T a b l e C e l l N u m b e r >  
                 < S h a p e I D > 1 1 < / 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f 4 e f 4 7 e - 7 4 1 7 - 4 f 3 2 - 9 3 f a - 2 9 9 8 d 1 e c 8 c f 7 < / 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9 . 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2 < / S h a p e I n d e x >  
                 < S h a p e I n d e x e s / >  
                 < O c c u r i n g I n d e x > 1 < / O c c u r i n g I n d e x >  
                 < T a b l e R o w N u m b e r > 0 < / T a b l e R o w N u m b e r >  
                 < T a b l e C e l l N u m b e r > 0 < / T a b l e C e l l N u m b e r >  
                 < S h a p e I D > 1 2 < / 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a b d 1 6 a 0 - 9 d a c - 4 d 3 b - a c 4 1 - c 2 4 5 a 9 0 e 2 9 2 2 < / 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9 . 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3 < / S h a p e I n d e x >  
                 < S h a p e I n d e x e s / >  
                 < O c c u r i n g I n d e x > 1 < / O c c u r i n g I n d e x >  
                 < T a b l e R o w N u m b e r > 0 < / T a b l e R o w N u m b e r >  
                 < T a b l e C e l l N u m b e r > 0 < / T a b l e C e l l N u m b e r >  
                 < S h a p e I D > 1 3 < / 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c a 8 3 2 f 1 - e a 9 c - 4 8 0 a - a 9 d a - 6 c 4 6 e d 5 9 b a 1 9 < / 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9 . 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4 < / S h a p e I n d e x >  
                 < S h a p e I n d e x e s / >  
                 < O c c u r i n g I n d e x > 1 < / O c c u r i n g I n d e x >  
                 < T a b l e R o w N u m b e r > 0 < / T a b l e R o w N u m b e r >  
                 < T a b l e C e l l N u m b e r > 0 < / T a b l e C e l l N u m b e r >  
                 < S h a p e I D > 1 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1 2 4 2 3 9 c - e 3 2 2 - 4 c 6 1 - b b 4 f - 7 2 2 a 8 e 9 f 6 d 0 1 < / P r o b l e m N u m b e r >  
         < P r o p e r t y > P u n c t u a t i o n   S p a c i n g < / P r o p e r t y >  
         < P r o b l e m T o o l t i p > T h i s   s p a c i n g   a r o u n d   p u n c t u a t i o n   i s   i n c o n s i s t e n t   w i t h   m o s t   o f   t h e   p r e s e n t a t i o n < / P r o b l e m T o o l t i p >  
         < I s s u e C o n t e x t > M n g t . : < / I s s u e C o n t e x t >  
         < I s s u e C o n t e x t L i n e > C o m m u n i c a t i o n   & a m p ;   C h a n g e   M n g t . :   S t a k e h o l d e r   M a p < / I s s u e C o n t e x t L i n e >  
         < P r o b l e m D e s c r i p t i o n F o r e g r o u n d > # 9 9 9 9 9 9 < / P r o b l e m D e s c r i p t i o n F o r e g r o u n d >  
         < S e l e c t e d R e c o m m e n d e d S t y l e I n d e x > 0 < / S e l e c t e d R e c o m m e n d e d S t y l e I n d e x >  
         < C o d e > & a m p ; # x f 0 a d ; < / C o d e >  
         < m s S l i d e I D > 5 7 4 4 < / m s S l i d e I D >  
         < X M L A l g o r i t h m   t y p e = " P o w e r P o i n t A d d I n . A l g o r i t h m s . C o n t e n t . C o n t e n t P u n c t u a t i o n S p a c i n g ,   A s t u t e P o w e r P o i n t A d d I n ,   V e r s i o n = 1 . 0 . 3 9 . 0 ,   C u l t u r e = n e u t r a l ,   P u b l i c K e y T o k e n = n u l l " >  
             < C o n t e n t P u n c t u a t i o n S p a c i n g >  
                 < F i x I n d e x > 2 7 < / F i x I n d e x >  
                 < U n d o I n d e x > 2 7 < / U n d o I n d e x >  
                 < L e f t P u n c t u a t i o n D e s c r i p t i o n > M n g t < / L e f t P u n c t u a t i o n D e s c r i p t i o n >  
                 < R i g h t P u n c t u a t i o n D e s c r i p t i o n > : < / R i g h t P u n c t u a t i o n D e s c r i p t i o n >  
                 < S l i d e N u m b e r > 8 4 < / S l i d e N u m b e r >  
                 < S l i d e I n d e x > 8 5 < / S l i d e I n d e x >  
                 < L i n e N u m b e r > 1 < / L i n e N u m b e r >  
                 < S h a p e I n d e x > 3 < / S h a p e I n d e x >  
                 < S h a p e I n d e x e s / >  
                 < O c c u r i n g I n d e x > 1 < / O c c u r i n g I n d e x >  
                 < T a b l e R o w N u m b e r > 0 < / T a b l e R o w N u m b e r >  
                 < T a b l e C e l l N u m b e r > 0 < / T a b l e C e l l N u m b e r >  
                 < S h a p e I D > 3 1 < / 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7 < / 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A r r a y O f P r o b l e m > 
</file>

<file path=customXml/item5.xml>��< ? x m l   v e r s i o n = " 1 . 0 "   e n c o d i n g = " u t f - 1 6 " ? > < A r r a y O f P r o b l e m   x m l n s : x s d = " h t t p : / / w w w . w 3 . o r g / 2 0 0 1 / X M L S c h e m a "   x m l n s : x s i = " h t t p : / / w w w . w 3 . o r g / 2 0 0 1 / X M L S c h e m a - i n s t a n c e " >  
     < P r o b l e m >  
         < P r o b l e m N u m b e r > 2 4 6 1 b e 1 7 - d 1 a e - 4 4 0 2 - a 1 b 0 - 9 8 3 0 7 a 9 9 7 0 f e < / P r o b l e m N u m b e r >  
         < P r o p e r t y > T i t l e   F o n t   S t y l e   -   T i t l e   a n d   C o n t e n t   S l i d e s < / P r o p e r t y >  
         < P r o b l e m T o o l t i p > T h i s   t i t l e ' s   f o n t   s t y l e   i s   i n c o n s i s t e n t   w i t h   m o s t   o f   t h e   p r e s e n t a t i o n < / P r o b l e m T o o l t i p >  
         < I s s u e C o n t e x t > E x e c u t i v e   S u m m a r y < / I s s u e C o n t e x t >  
         < I s s u e C o n t e x t L i n e > E x e c u t i v e   S u m m a r y < / I s s u e C o n t e x t L i n e >  
         < P r o b l e m D e s c r i p t i o n F o r e g r o u n d > # 9 9 9 9 9 9 < / P r o b l e m D e s c r i p t i o n F o r e g r o u n d >  
         < S e l e c t e d R e c o m m e n d e d S t y l e I n d e x > 0 < / S e l e c t e d R e c o m m e n d e d S t y l e I n d e x >  
         < C o d e > & a m p ; # x f 0 a d ; < / C o d e >  
         < m s S l i d e I D > 5 7 2 4 < / m s S l i d e I D >  
         < X M L A l g o r i t h m   t y p e = " P o w e r P o i n t A d d I n . A l g o r i t h m s . T i t l e . T i t l e F o n t S t y l e ,   A s t u t e P o w e r P o i n t A d d I n ,   V e r s i o n = 1 . 0 . 3 6 . 0 ,   C u l t u r e = n e u t r a l ,   P u b l i c K e y T o k e n = n u l l " >  
             < T i t l e F o n t S t y l e >  
                 < S l i d e N u m b e r > 1 < / S l i d e N u m b e r >  
                 < S l i d e I n d e x > 2 < / S l i d e I n d e x >  
                 < S h a p e I D > 1 4 < / 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8 d 5 a 9 f 1 - f 7 e 3 - 4 e f 9 - b 8 0 d - f f 4 6 f 9 e 2 f 8 3 2 < / 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7 2 5 < / m s S l i d e I D >  
         < X M L A l g o r i t h m   t y p e = " P o w e r P o i n t A d d I n . A l g o r i t h m s . T i t l e . T i t l e F o n t S t y l e ,   A s t u t e P o w e r P o i n t A d d I n ,   V e r s i o n = 1 . 0 . 3 6 . 0 ,   C u l t u r e = n e u t r a l ,   P u b l i c K e y T o k e n = n u l l " >  
             < T i t l e F o n t S t y l e >  
                 < S l i d e N u m b e r > 2 < / S l i d e N u m b e r >  
                 < S l i d e I n d e x > 3 < / S l i d e I n d e x >  
                 < S h a p e I D > 6 < / 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9 f d c 7 5 2 - e 9 8 1 - 4 6 a f - b 2 d 0 - 3 2 b e 9 8 0 1 9 9 4 c < / P r o b l e m N u m b e r >  
         < P r o p e r t y > T i t l e   F o n t   S t y l e   -   T i t l e   a n d   C o n t e n t   S l i d e s < / P r o p e r t y >  
         < P r o b l e m T o o l t i p > T h i s   t i t l e ' s   f o n t   s t y l e   i s   i n c o n s i s t e n t   w i t h   m o s t   o f   t h e   p r e s e n t a t i o n < / P r o b l e m T o o l t i p >  
         < I s s u e C o n t e x t > U n d e r s t a n d i n g   t h e   S i t u a t i o n < / I s s u e C o n t e x t >  
         < I s s u e C o n t e x t L i n e > U n d e r s t a n d i n g   t h e   S i t u a t i o n < / I s s u e C o n t e x t L i n e >  
         < P r o b l e m D e s c r i p t i o n F o r e g r o u n d > # 9 9 9 9 9 9 < / P r o b l e m D e s c r i p t i o n F o r e g r o u n d >  
         < S e l e c t e d R e c o m m e n d e d S t y l e I n d e x > 0 < / S e l e c t e d R e c o m m e n d e d S t y l e I n d e x >  
         < C o d e > & a m p ; # x f 0 a d ; < / C o d e >  
         < m s S l i d e I D > 5 7 2 8 < / m s S l i d e I D >  
         < X M L A l g o r i t h m   t y p e = " P o w e r P o i n t A d d I n . A l g o r i t h m s . T i t l e . T i t l e F o n t S t y l e ,   A s t u t e P o w e r P o i n t A d d I n ,   V e r s i o n = 1 . 0 . 3 6 . 0 ,   C u l t u r e = n e u t r a l ,   P u b l i c K e y T o k e n = n u l l " >  
             < T i t l e F o n t S t y l e >  
                 < S l i d e N u m b e r > 5 < / S l i d e N u m b e r >  
                 < S l i d e I n d e x > 6 < / S l i d e I n d e x >  
                 < S h a p e I D > 1 3 9 2 6 5 < / 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4 7 9 a 9 2 7 - 5 9 6 5 - 4 7 8 f - b a 2 8 - 9 6 f f b 3 0 d e 5 4 1 < / P r o b l e m N u m b e r >  
         < P r o p e r t y > T i t l e   F o n t   S t y l e   -   T i t l e   a n d   C o n t e n t   S l i d e s < / P r o p e r t y >  
         < P r o b l e m T o o l t i p > T h i s   t i t l e ' s   f o n t   s t y l e   i s   i n c o n s i s t e n t   w i t h   m o s t   o f   t h e   p r e s e n t a t i o n < / P r o b l e m T o o l t i p >  
         < I s s u e C o n t e x t > U n d e r s t a n d i n g   t h e   S i t u a t i o n < / I s s u e C o n t e x t >  
         < I s s u e C o n t e x t L i n e > U n d e r s t a n d i n g   t h e   S i t u a t i o n < / I s s u e C o n t e x t L i n e >  
         < P r o b l e m D e s c r i p t i o n F o r e g r o u n d > # 9 9 9 9 9 9 < / P r o b l e m D e s c r i p t i o n F o r e g r o u n d >  
         < S e l e c t e d R e c o m m e n d e d S t y l e I n d e x > 0 < / S e l e c t e d R e c o m m e n d e d S t y l e I n d e x >  
         < C o d e > & a m p ; # x f 0 a d ; < / C o d e >  
         < m s S l i d e I D > 5 7 2 9 < / m s S l i d e I D >  
         < X M L A l g o r i t h m   t y p e = " P o w e r P o i n t A d d I n . A l g o r i t h m s . T i t l e . T i t l e F o n t S t y l e ,   A s t u t e P o w e r P o i n t A d d I n ,   V e r s i o n = 1 . 0 . 3 6 . 0 ,   C u l t u r e = n e u t r a l ,   P u b l i c K e y T o k e n = n u l l " >  
             < T i t l e F o n t S t y l e >  
                 < S l i d e N u m b e r > 6 < / S l i d e N u m b e r >  
                 < S l i d e I n d e x > 7 < / S l i d e I n d e x >  
                 < S h a p e I D > 1 3 9 2 6 5 < / 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4 8 e 2 4 e 3 - d d 7 f - 4 1 3 1 - b 4 7 d - 7 0 d 6 7 7 3 4 7 c d 4 < / P r o b l e m N u m b e r >  
         < P r o p e r t y > T i t l e   F o n t   S t y l e   -   T i t l e   a n d   C o n t e n t   S l i d e s < / P r o p e r t y >  
         < P r o b l e m T o o l t i p > T h i s   t i t l e ' s   f o n t   s t y l e   i s   i n c o n s i s t e n t   w i t h   m o s t   o f   t h e   p r e s e n t a t i o n < / P r o b l e m T o o l t i p >  
         < I s s u e C o n t e x t > P u r c h a s i n g   C h e s s b o a r d < / I s s u e C o n t e x t >  
         < I s s u e C o n t e x t L i n e > P u r c h a s i n g   C h e s s b o a r d < / I s s u e C o n t e x t L i n e >  
         < P r o b l e m D e s c r i p t i o n F o r e g r o u n d > # 9 9 9 9 9 9 < / P r o b l e m D e s c r i p t i o n F o r e g r o u n d >  
         < S e l e c t e d R e c o m m e n d e d S t y l e I n d e x > 0 < / S e l e c t e d R e c o m m e n d e d S t y l e I n d e x >  
         < C o d e > & a m p ; # x f 0 a d ; < / C o d e >  
         < m s S l i d e I D > 5 7 3 0 < / m s S l i d e I D >  
         < X M L A l g o r i t h m   t y p e = " P o w e r P o i n t A d d I n . A l g o r i t h m s . T i t l e . T i t l e F o n t S t y l e ,   A s t u t e P o w e r P o i n t A d d I n ,   V e r s i o n = 1 . 0 . 3 6 . 0 ,   C u l t u r e = n e u t r a l ,   P u b l i c K e y T o k e n = n u l l " >  
             < T i t l e F o n t S t y l e >  
                 < S l i d e N u m b e r > 7 < / S l i d e N u m b e r >  
                 < S l i d e I n d e x > 8 < / S l i d e I n d e x >  
                 < S h a p e I D > 1 7 < / 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d 5 c d d 3 9 - 4 c 1 e - 4 d 3 9 - a 0 2 9 - d 4 1 f 7 b a 1 0 1 4 b < / P r o b l e m N u m b e r >  
         < P r o p e r t y > T i t l e   F o n t   S t y l e   -   T i t l e   a n d   C o n t e n t   S l i d e s < / P r o p e r t y >  
         < P r o b l e m T o o l t i p > T h i s   t i t l e ' s   f o n t   s t y l e   i s   i n c o n s i s t e n t   w i t h   m o s t   o f   t h e   p r e s e n t a t i o n < / P r o b l e m T o o l t i p >  
         < I s s u e C o n t e x t > P u r c h a s i n g   C h e s s b o a r d < / I s s u e C o n t e x t >  
         < I s s u e C o n t e x t L i n e > P u r c h a s i n g   C h e s s b o a r d < / I s s u e C o n t e x t L i n e >  
         < P r o b l e m D e s c r i p t i o n F o r e g r o u n d > # 9 9 9 9 9 9 < / P r o b l e m D e s c r i p t i o n F o r e g r o u n d >  
         < S e l e c t e d R e c o m m e n d e d S t y l e I n d e x > 0 < / S e l e c t e d R e c o m m e n d e d S t y l e I n d e x >  
         < C o d e > & a m p ; # x f 0 a d ; < / C o d e >  
         < m s S l i d e I D > 5 7 3 1 < / m s S l i d e I D >  
         < X M L A l g o r i t h m   t y p e = " P o w e r P o i n t A d d I n . A l g o r i t h m s . T i t l e . T i t l e F o n t S t y l e ,   A s t u t e P o w e r P o i n t A d d I n ,   V e r s i o n = 1 . 0 . 3 6 . 0 ,   C u l t u r e = n e u t r a l ,   P u b l i c K e y T o k e n = n u l l " >  
             < T i t l e F o n t S t y l e >  
                 < S l i d e N u m b e r > 8 < / S l i d e N u m b e r >  
                 < S l i d e I n d e x > 9 < / S l i d e I n d e x >  
                 < S h a p e I D > 1 7 < / 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7 1 4 3 a 6 0 - 3 2 8 b - 4 9 9 4 - a d c e - c 7 0 4 2 d f 0 9 c f a < / P r o b l e m N u m b e r >  
         < P r o p e r t y > T i t l e   F o n t   S t y l e   -   T i t l e   a n d   C o n t e n t   S l i d e s < / P r o p e r t y >  
         < P r o b l e m T o o l t i p > T h i s   t i t l e ' s   f o n t   s t y l e   i s   i n c o n s i s t e n t   w i t h   m o s t   o f   t h e   p r e s e n t a t i o n < / P r o b l e m T o o l t i p >  
         < I s s u e C o n t e x t > V e n d o r   S e l e c t i o n   S u p p o r t < / I s s u e C o n t e x t >  
         < I s s u e C o n t e x t L i n e > V e n d o r   S e l e c t i o n   S u p p o r t < / I s s u e C o n t e x t L i n e >  
         < P r o b l e m D e s c r i p t i o n F o r e g r o u n d > # 9 9 9 9 9 9 < / P r o b l e m D e s c r i p t i o n F o r e g r o u n d >  
         < S e l e c t e d R e c o m m e n d e d S t y l e I n d e x > 0 < / S e l e c t e d R e c o m m e n d e d S t y l e I n d e x >  
         < C o d e > & a m p ; # x f 0 a d ; < / C o d e >  
         < m s S l i d e I D > 5 7 3 3 < / m s S l i d e I D >  
         < X M L A l g o r i t h m   t y p e = " P o w e r P o i n t A d d I n . A l g o r i t h m s . T i t l e . T i t l e F o n t S t y l e ,   A s t u t e P o w e r P o i n t A d d I n ,   V e r s i o n = 1 . 0 . 3 6 . 0 ,   C u l t u r e = n e u t r a l ,   P u b l i c K e y T o k e n = n u l l " >  
             < T i t l e F o n t S t y l e >  
                 < S l i d e N u m b e r > 1 0 < / S l i d e N u m b e r >  
                 < S l i d e I n d e x > 1 1 < / S l i d e I n d e x >  
                 < S h a p e I D > 6 < / S h a p e I D >  
                 < S h a p e I n d e x > 3 1 < / 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5 7 4 d a 6 2 - 0 7 3 4 - 4 4 b 3 - 9 0 0 0 - a a 4 1 e f 5 4 a 5 d c < / 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7 3 7 < / m s S l i d e I D >  
         < X M L A l g o r i t h m   t y p e = " P o w e r P o i n t A d d I n . A l g o r i t h m s . T i t l e . T i t l e F o n t S t y l e ,   A s t u t e P o w e r P o i n t A d d I n ,   V e r s i o n = 1 . 0 . 3 6 . 0 ,   C u l t u r e = n e u t r a l ,   P u b l i c K e y T o k e n = n u l l " >  
             < T i t l e F o n t S t y l e >  
                 < S l i d e N u m b e r > 1 4 < / S l i d e N u m b e r >  
                 < S l i d e I n d e x > 1 5 < / 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a f 5 7 0 c - 7 e 9 8 - 4 b 1 b - 8 4 f 4 - e b a 6 c 4 e 8 7 7 4 1 < / 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0 8 7 < / m s S l i d e I D >  
         < X M L A l g o r i t h m   t y p e = " P o w e r P o i n t A d d I n . A l g o r i t h m s . T i t l e . T i t l e F o n t S t y l e ,   A s t u t e P o w e r P o i n t A d d I n ,   V e r s i o n = 1 . 0 . 3 6 . 0 ,   C u l t u r e = n e u t r a l ,   P u b l i c K e y T o k e n = n u l l " >  
             < T i t l e F o n t S t y l e >  
                 < S l i d e N u m b e r > 2 1 < / S l i d e N u m b e r >  
                 < S l i d e I n d e x > 2 2 < / 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d 3 9 c 0 0 4 - f 1 6 0 - 4 f d f - 8 7 1 0 - 3 a 2 e d 3 9 d 4 8 5 5 < / P r o b l e m N u m b e r >  
         < P r o p e r t y > T i t l e   F o n t   S t y l e   -   T i t l e   a n d   C o n t e n t   S l i d e s < / P r o p e r t y >  
         < P r o b l e m T o o l t i p > T h i s   t i t l e ' s   f o n t   s t y l e   i s   i n c o n s i s t e n t   w i t h   m o s t   o f   t h e   p r e s e n t a t i o n < / P r o b l e m T o o l t i p >  
         < I s s u e C o n t e x t > D a s h b o a r d < / I s s u e C o n t e x t >  
         < I s s u e C o n t e x t L i n e > D a s h b o a r d < / I s s u e C o n t e x t L i n e >  
         < P r o b l e m D e s c r i p t i o n F o r e g r o u n d > # 9 9 9 9 9 9 < / P r o b l e m D e s c r i p t i o n F o r e g r o u n d >  
         < S e l e c t e d R e c o m m e n d e d S t y l e I n d e x > 0 < / S e l e c t e d R e c o m m e n d e d S t y l e I n d e x >  
         < C o d e > & a m p ; # x f 0 a d ; < / C o d e >  
         < m s S l i d e I D > 5 6 8 7 < / m s S l i d e I D >  
         < X M L A l g o r i t h m   t y p e = " P o w e r P o i n t A d d I n . A l g o r i t h m s . T i t l e . T i t l e F o n t S t y l e ,   A s t u t e P o w e r P o i n t A d d I n ,   V e r s i o n = 1 . 0 . 3 6 . 0 ,   C u l t u r e = n e u t r a l ,   P u b l i c K e y T o k e n = n u l l " >  
             < T i t l e F o n t S t y l e >  
                 < S l i d e N u m b e r > 2 7 < / S l i d e N u m b e r >  
                 < S l i d e I n d e x > 2 8 < / S l i d e I n d e x >  
                 < S h a p e I D > 6 < / S h a p e I D >  
                 < S h a p e I n d e x > 7 < / 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3 c 8 7 7 9 0 - 7 b f 5 - 4 0 d 9 - b d 8 b - 8 9 1 a e 0 a 0 0 0 c 2 < / P r o b l e m N u m b e r >  
         < P r o p e r t y > T i t l e   F o n t   S t y l e   -   T i t l e   a n d   C o n t e n t   S l i d e s < / P r o p e r t y >  
         < P r o b l e m T o o l t i p > T h i s   t i t l e ' s   f o n t   s t y l e   i s   i n c o n s i s t e n t   w i t h   m o s t   o f   t h e   p r e s e n t a t i o n < / P r o b l e m T o o l t i p >  
         < I s s u e C o n t e x t > C o n t i n u o u s   P r o j e c t   E s t i m a t i o n   I m p r o v e m e n t < / I s s u e C o n t e x t >  
         < I s s u e C o n t e x t L i n e > C o n t i n u o u s   P r o j e c t   E s t i m a t i o n   I m p r o v e m e n t < / I s s u e C o n t e x t L i n e >  
         < P r o b l e m D e s c r i p t i o n F o r e g r o u n d > # 9 9 9 9 9 9 < / P r o b l e m D e s c r i p t i o n F o r e g r o u n d >  
         < S e l e c t e d R e c o m m e n d e d S t y l e I n d e x > 0 < / S e l e c t e d R e c o m m e n d e d S t y l e I n d e x >  
         < C o d e > & a m p ; # x f 0 a d ; < / C o d e >  
         < m s S l i d e I D > 5 7 2 0 < / m s S l i d e I D >  
         < X M L A l g o r i t h m   t y p e = " P o w e r P o i n t A d d I n . A l g o r i t h m s . T i t l e . T i t l e F o n t S t y l e ,   A s t u t e P o w e r P o i n t A d d I n ,   V e r s i o n = 1 . 0 . 3 6 . 0 ,   C u l t u r e = n e u t r a l ,   P u b l i c K e y T o k e n = n u l l " >  
             < T i t l e F o n t S t y l e >  
                 < S l i d e N u m b e r > 3 2 < / S l i d e N u m b e r >  
                 < S l i d e I n d e x > 3 3 < / S l i d e I n d e x >  
                 < S h a p e I D > 3 < / S h a p e I D >  
                 < S h a p e I n d e x > 2 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d 4 a 8 5 1 a - f 4 d 1 - 4 d 3 a - 8 7 c 8 - f 8 3 9 2 e 5 8 d 8 c d < / P r o b l e m N u m b e r >  
         < P r o p e r t y > T i t l e   F o n t   S t y l e   -   T i t l e   a n d   C o n t e n t   S l i d e s < / P r o p e r t y >  
         < P r o b l e m T o o l t i p > T h i s   t i t l e ' s   f o n t   s t y l e   i s   i n c o n s i s t e n t   w i t h   m o s t   o f   t h e   p r e s e n t a t i o n < / P r o b l e m T o o l t i p >  
         < I s s u e C o n t e x t > C o m p a n y < / I s s u e C o n t e x t >  
         < I s s u e C o n t e x t L i n e > C o m p a n y < / I s s u e C o n t e x t L i n e >  
         < P r o b l e m D e s c r i p t i o n F o r e g r o u n d > # 9 9 9 9 9 9 < / P r o b l e m D e s c r i p t i o n F o r e g r o u n d >  
         < S e l e c t e d R e c o m m e n d e d S t y l e I n d e x > 0 < / S e l e c t e d R e c o m m e n d e d S t y l e I n d e x >  
         < C o d e > & a m p ; # x f 0 a d ; < / C o d e >  
         < m s S l i d e I D > 5 6 9 1 < / m s S l i d e I D >  
         < X M L A l g o r i t h m   t y p e = " P o w e r P o i n t A d d I n . A l g o r i t h m s . T i t l e . T i t l e F o n t S t y l e ,   A s t u t e P o w e r P o i n t A d d I n ,   V e r s i o n = 1 . 0 . 3 6 . 0 ,   C u l t u r e = n e u t r a l ,   P u b l i c K e y T o k e n = n u l l " >  
             < T i t l e F o n t S t y l e >  
                 < S l i d e N u m b e r > 3 3 < / S l i d e N u m b e r >  
                 < S l i d e I n d e x > 3 4 < / S l i d e I n d e x >  
                 < S h a p e I D > 9 8 < / 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3 1 0 d 0 5 a - 6 2 a 8 - 4 1 6 6 - b 1 7 9 - 3 6 b 7 c 8 0 1 1 0 0 c < / P r o b l e m N u m b e r >  
         < P r o p e r t y > T i t l e   F o n t   S t y l e   -   T i t l e   a n d   C o n t e n t   S l i d e s < / P r o p e r t y >  
         < P r o b l e m T o o l t i p > T h i s   t i t l e ' s   f o n t   s t y l e   i s   i n c o n s i s t e n t   w i t h   m o s t   o f   t h e   p r e s e n t a t i o n < / P r o b l e m T o o l t i p >  
         < I s s u e C o n t e x t > O v e r v i e w   ( # / # ) < / I s s u e C o n t e x t >  
         < I s s u e C o n t e x t L i n e > O v e r v i e w   ( # / # ) < / I s s u e C o n t e x t L i n e >  
         < P r o b l e m D e s c r i p t i o n F o r e g r o u n d > # 9 9 9 9 9 9 < / P r o b l e m D e s c r i p t i o n F o r e g r o u n d >  
         < S e l e c t e d R e c o m m e n d e d S t y l e I n d e x > 0 < / S e l e c t e d R e c o m m e n d e d S t y l e I n d e x >  
         < C o d e > & a m p ; # x f 0 a d ; < / C o d e >  
         < m s S l i d e I D > 4 9 8 1 < / m s S l i d e I D >  
         < X M L A l g o r i t h m   t y p e = " P o w e r P o i n t A d d I n . A l g o r i t h m s . T i t l e . T i t l e F o n t S t y l e ,   A s t u t e P o w e r P o i n t A d d I n ,   V e r s i o n = 1 . 0 . 3 6 . 0 ,   C u l t u r e = n e u t r a l ,   P u b l i c K e y T o k e n = n u l l " >  
             < T i t l e F o n t S t y l e >  
                 < S l i d e N u m b e r > 3 4 < / S l i d e N u m b e r >  
                 < S l i d e I n d e x > 3 5 < / S l i d e I n d e x >  
                 < S h a p e I D > 1 2 < / S h a p e I D >  
                 < S h a p e I n d e x > 5 1 < / 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5 6 9 5 5 e 7 - 1 6 e b - 4 e a 7 - 9 6 2 c - 1 7 a 2 c 6 6 5 f f 3 6 < / P r o b l e m N u m b e r >  
         < P r o p e r t y > T i t l e   F o n t   S t y l e   -   T i t l e   a n d   C o n t e n t   S l i d e s < / P r o p e r t y >  
         < P r o b l e m T o o l t i p > T h i s   t i t l e ' s   f o n t   s t y l e   i s   i n c o n s i s t e n t   w i t h   m o s t   o f   t h e   p r e s e n t a t i o n < / P r o b l e m T o o l t i p >  
         < I s s u e C o n t e x t > O v e r v i e w   ( # / # ) < / I s s u e C o n t e x t >  
         < I s s u e C o n t e x t L i n e > O v e r v i e w   ( # / # ) < / I s s u e C o n t e x t L i n e >  
         < P r o b l e m D e s c r i p t i o n F o r e g r o u n d > # 9 9 9 9 9 9 < / P r o b l e m D e s c r i p t i o n F o r e g r o u n d >  
         < S e l e c t e d R e c o m m e n d e d S t y l e I n d e x > 0 < / S e l e c t e d R e c o m m e n d e d S t y l e I n d e x >  
         < C o d e > & a m p ; # x f 0 a d ; < / C o d e >  
         < m s S l i d e I D > 4 9 7 6 < / m s S l i d e I D >  
         < X M L A l g o r i t h m   t y p e = " P o w e r P o i n t A d d I n . A l g o r i t h m s . T i t l e . T i t l e F o n t S t y l e ,   A s t u t e P o w e r P o i n t A d d I n ,   V e r s i o n = 1 . 0 . 3 6 . 0 ,   C u l t u r e = n e u t r a l ,   P u b l i c K e y T o k e n = n u l l " >  
             < T i t l e F o n t S t y l e >  
                 < S l i d e N u m b e r > 3 5 < / S l i d e N u m b e r >  
                 < S l i d e I n d e x > 3 6 < / S l i d e I n d e x >  
                 < S h a p e I D > 1 3 < / S h a p e I D >  
                 < S h a p e I n d e x > 5 8 < / 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4 2 7 b 0 8 8 - 1 6 d 7 - 4 3 d 2 - 8 5 4 7 - b 1 1 8 2 4 5 a 0 9 b e < / P r o b l e m N u m b e r >  
         < P r o p e r t y > T i t l e   F o n t   S t y l e   -   T i t l e   a n d   C o n t e n t   S l i d e s < / P r o p e r t y >  
         < P r o b l e m T o o l t i p > T h i s   t i t l e ' s   f o n t   s t y l e   i s   i n c o n s i s t e n t   w i t h   m o s t   o f   t h e   p r e s e n t a t i o n < / P r o b l e m T o o l t i p >  
         < I s s u e C o n t e x t > P r o c u r e m e n t   U p d a t e < / I s s u e C o n t e x t >  
         < I s s u e C o n t e x t L i n e > P r o c u r e m e n t   U p d a t e < / I s s u e C o n t e x t L i n e >  
         < P r o b l e m D e s c r i p t i o n F o r e g r o u n d > # 9 9 9 9 9 9 < / P r o b l e m D e s c r i p t i o n F o r e g r o u n d >  
         < S e l e c t e d R e c o m m e n d e d S t y l e I n d e x > 0 < / S e l e c t e d R e c o m m e n d e d S t y l e I n d e x >  
         < C o d e > & a m p ; # x f 0 a d ; < / C o d e >  
         < m s S l i d e I D > 5 6 9 2 < / m s S l i d e I D >  
         < X M L A l g o r i t h m   t y p e = " P o w e r P o i n t A d d I n . A l g o r i t h m s . T i t l e . T i t l e F o n t S t y l e ,   A s t u t e P o w e r P o i n t A d d I n ,   V e r s i o n = 1 . 0 . 3 6 . 0 ,   C u l t u r e = n e u t r a l ,   P u b l i c K e y T o k e n = n u l l " >  
             < T i t l e F o n t S t y l e >  
                 < S l i d e N u m b e r > 3 6 < / S l i d e N u m b e r >  
                 < S l i d e I n d e x > 3 7 < / S l i d e I n d e x >  
                 < S h a p e I D > 2 < / S h a p e I D >  
                 < S h a p e I n d e x > 3 < / 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8 8 0 f 9 9 3 - c e 3 a - 4 0 9 f - b f a 5 - 0 2 3 d 7 6 2 3 e a 3 c < / P r o b l e m N u m b e r >  
         < P r o p e r t y > T i t l e   F o n t   S t y l e   -   T i t l e   a n d   C o n t e n t   S l i d e s < / P r o p e r t y >  
         < P r o b l e m T o o l t i p > T h i s   t i t l e ' s   f o n t   s t y l e   i s   i n c o n s i s t e n t   w i t h   m o s t   o f   t h e   p r e s e n t a t i o n < / P r o b l e m T o o l t i p >  
         < I s s u e C o n t e x t > O p p o r t u n i t i e s   f o r   I m p r o v e m e n t < / I s s u e C o n t e x t >  
         < I s s u e C o n t e x t L i n e > O p p o r t u n i t i e s   f o r   I m p r o v e m e n t < / I s s u e C o n t e x t L i n e >  
         < P r o b l e m D e s c r i p t i o n F o r e g r o u n d > # 9 9 9 9 9 9 < / P r o b l e m D e s c r i p t i o n F o r e g r o u n d >  
         < S e l e c t e d R e c o m m e n d e d S t y l e I n d e x > 0 < / S e l e c t e d R e c o m m e n d e d S t y l e I n d e x >  
         < C o d e > & a m p ; # x f 0 a d ; < / C o d e >  
         < m s S l i d e I D > 4 5 6 8 < / m s S l i d e I D >  
         < X M L A l g o r i t h m   t y p e = " P o w e r P o i n t A d d I n . A l g o r i t h m s . T i t l e . T i t l e F o n t S t y l e ,   A s t u t e P o w e r P o i n t A d d I n ,   V e r s i o n = 1 . 0 . 3 6 . 0 ,   C u l t u r e = n e u t r a l ,   P u b l i c K e y T o k e n = n u l l " >  
             < T i t l e F o n t S t y l e >  
                 < S l i d e N u m b e r > 3 7 < / S l i d e N u m b e r >  
                 < S l i d e I n d e x > 3 8 < / S l i d e I n d e x >  
                 < S h a p e I D > 3 < / S h a p e I D >  
                 < S h a p e I n d e x > 5 < / 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3 4 7 4 6 6 2 - 9 d 1 6 - 4 b c 3 - 9 3 0 0 - d d b 7 a 5 b e d 0 0 0 < / P r o b l e m N u m b e r >  
         < P r o p e r t y > T i t l e   F o n t   S t y l e   -   T i t l e   a n d   C o n t e n t   S l i d e s < / P r o p e r t y >  
         < P r o b l e m T o o l t i p > T h i s   t i t l e ' s   f o n t   s t y l e   i s   i n c o n s i s t e n t   w i t h   m o s t   o f   t h e   p r e s e n t a t i o n < / P r o b l e m T o o l t i p >  
         < I s s u e C o n t e x t > O r g a n i z a t i o n   S t r u c t u r e < / I s s u e C o n t e x t >  
         < I s s u e C o n t e x t L i n e > O r g a n i z a t i o n   S t r u c t u r e < / I s s u e C o n t e x t L i n e >  
         < P r o b l e m D e s c r i p t i o n F o r e g r o u n d > # 9 9 9 9 9 9 < / P r o b l e m D e s c r i p t i o n F o r e g r o u n d >  
         < S e l e c t e d R e c o m m e n d e d S t y l e I n d e x > 0 < / S e l e c t e d R e c o m m e n d e d S t y l e I n d e x >  
         < C o d e > & a m p ; # x f 0 a d ; < / C o d e >  
         < m s S l i d e I D > 4 6 8 6 < / m s S l i d e I D >  
         < X M L A l g o r i t h m   t y p e = " P o w e r P o i n t A d d I n . A l g o r i t h m s . T i t l e . T i t l e F o n t S t y l e ,   A s t u t e P o w e r P o i n t A d d I n ,   V e r s i o n = 1 . 0 . 3 6 . 0 ,   C u l t u r e = n e u t r a l ,   P u b l i c K e y T o k e n = n u l l " >  
             < T i t l e F o n t S t y l e >  
                 < S l i d e N u m b e r > 3 8 < / S l i d e N u m b e r >  
                 < S l i d e I n d e x > 3 9 < / S l i d e I n d e x >  
                 < S h a p e I D > 2 < / S h a p e I D >  
                 < S h a p e I n d e x > 6 7 < / 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3 d c 1 0 0 c - 6 2 3 d - 4 1 5 6 - 9 b 0 d - b 2 0 8 2 5 f b 3 1 9 d < / 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0 8 6 < / m s S l i d e I D >  
         < X M L A l g o r i t h m   t y p e = " P o w e r P o i n t A d d I n . A l g o r i t h m s . T i t l e . T i t l e F o n t S t y l e ,   A s t u t e P o w e r P o i n t A d d I n ,   V e r s i o n = 1 . 0 . 3 6 . 0 ,   C u l t u r e = n e u t r a l ,   P u b l i c K e y T o k e n = n u l l " >  
             < T i t l e F o n t S t y l e >  
                 < S l i d e N u m b e r > 4 0 < / S l i d e N u m b e r >  
                 < S l i d e I n d e x > 4 1 < / S l i d e I n d e x >  
                 < S h a p e I D > 4 < / S h a p e I D >  
                 < S h a p e I n d e x > 4 < / 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a a 2 8 7 0 1 - 8 1 c c - 4 8 3 3 - b 5 2 8 - 1 4 a e 1 1 d d 0 7 5 0 < / P r o b l e m N u m b e r >  
         < P r o p e r t y > T i t l e   F o n t   S t y l e   -   T i t l e   a n d   C o n t e n t   S l i d e s < / P r o p e r t y >  
         < P r o b l e m T o o l t i p > T h i s   t i t l e ' s   f o n t   s t y l e   i s   i n c o n s i s t e n t   w i t h   m o s t   o f   t h e   p r e s e n t a t i o n < / P r o b l e m T o o l t i p >  
         < I s s u e C o n t e x t > A g e n d a < / I s s u e C o n t e x t >  
         < I s s u e C o n t e x t L i n e > A g e n d a < / I s s u e C o n t e x t L i n e >  
         < P r o b l e m D e s c r i p t i o n F o r e g r o u n d > # 9 9 9 9 9 9 < / P r o b l e m D e s c r i p t i o n F o r e g r o u n d >  
         < S e l e c t e d R e c o m m e n d e d S t y l e I n d e x > 0 < / S e l e c t e d R e c o m m e n d e d S t y l e I n d e x >  
         < C o d e > & a m p ; # x f 0 a d ; < / C o d e >  
         < m s S l i d e I D > 5 6 9 4 < / m s S l i d e I D >  
         < X M L A l g o r i t h m   t y p e = " P o w e r P o i n t A d d I n . A l g o r i t h m s . T i t l e . T i t l e F o n t S t y l e ,   A s t u t e P o w e r P o i n t A d d I n ,   V e r s i o n = 1 . 0 . 3 6 . 0 ,   C u l t u r e = n e u t r a l ,   P u b l i c K e y T o k e n = n u l l " >  
             < T i t l e F o n t S t y l e >  
                 < S l i d e N u m b e r > 4 1 < / S l i d e N u m b e r >  
                 < S l i d e I n d e x > 4 2 < / S l i d e I n d e x >  
                 < S h a p e I D > 6 < / S h a p e I D >  
                 < S h a p e I n d e x > 5 < / 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0 a a b 5 2 a - 3 8 3 c - 4 e d 3 - 8 f 2 4 - b f f 7 9 5 6 7 1 2 2 1 < / P r o b l e m N u m b e r >  
         < P r o p e r t y > T i t l e   F o n t   S t y l e   -   T i t l e   a n d   C o n t e n t   S l i d e s < / P r o p e r t y >  
         < P r o b l e m T o o l t i p > T h i s   t i t l e ' s   f o n t   s t y l e   i s   i n c o n s i s t e n t   w i t h   m o s t   o f   t h e   p r e s e n t a t i o n < / P r o b l e m T o o l t i p >  
         < I s s u e C o n t e x t > S t r a t e g i c   N e g o t i a t i o n s < / I s s u e C o n t e x t >  
         < I s s u e C o n t e x t L i n e > S t r a t e g i c   N e g o t i a t i o n s < / I s s u e C o n t e x t L i n e >  
         < P r o b l e m D e s c r i p t i o n F o r e g r o u n d > # 9 9 9 9 9 9 < / P r o b l e m D e s c r i p t i o n F o r e g r o u n d >  
         < S e l e c t e d R e c o m m e n d e d S t y l e I n d e x > 0 < / S e l e c t e d R e c o m m e n d e d S t y l e I n d e x >  
         < C o d e > & a m p ; # x f 0 a d ; < / C o d e >  
         < m s S l i d e I D > 5 6 9 5 < / m s S l i d e I D >  
         < X M L A l g o r i t h m   t y p e = " P o w e r P o i n t A d d I n . A l g o r i t h m s . T i t l e . T i t l e F o n t S t y l e ,   A s t u t e P o w e r P o i n t A d d I n ,   V e r s i o n = 1 . 0 . 3 6 . 0 ,   C u l t u r e = n e u t r a l ,   P u b l i c K e y T o k e n = n u l l " >  
             < T i t l e F o n t S t y l e >  
                 < S l i d e N u m b e r > 4 2 < / S l i d e N u m b e r >  
                 < S l i d e I n d e x > 4 3 < / S l i d e I n d e x >  
                 < S h a p e I D > 3 < / S h a p e I D >  
                 < S h a p e I n d e x > 9 < / 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0 9 4 a 5 d c - 2 2 2 3 - 4 f e c - b b 0 3 - 2 4 4 9 1 d 7 2 6 a 7 9 < / P r o b l e m N u m b e r >  
         < P r o p e r t y > T i t l e   F o n t   S t y l e   -   T i t l e   a n d   C o n t e n t   S l i d e s < / P r o p e r t y >  
         < P r o b l e m T o o l t i p > T h i s   t i t l e ' s   f o n t   s t y l e   i s   i n c o n s i s t e n t   w i t h   m o s t   o f   t h e   p r e s e n t a t i o n < / P r o b l e m T o o l t i p >  
         < I s s u e C o n t e x t > A p p e n d i x < / I s s u e C o n t e x t >  
         < I s s u e C o n t e x t L i n e > A p p e n d i x < / I s s u e C o n t e x t L i n e >  
         < P r o b l e m D e s c r i p t i o n F o r e g r o u n d > # 9 9 9 9 9 9 < / P r o b l e m D e s c r i p t i o n F o r e g r o u n d >  
         < S e l e c t e d R e c o m m e n d e d S t y l e I n d e x > 0 < / S e l e c t e d R e c o m m e n d e d S t y l e I n d e x >  
         < C o d e > & a m p ; # x f 0 a d ; < / C o d e >  
         < m s S l i d e I D > 4 8 6 2 < / m s S l i d e I D >  
         < X M L A l g o r i t h m   t y p e = " P o w e r P o i n t A d d I n . A l g o r i t h m s . T i t l e . T i t l e F o n t S t y l e ,   A s t u t e P o w e r P o i n t A d d I n ,   V e r s i o n = 1 . 0 . 3 6 . 0 ,   C u l t u r e = n e u t r a l ,   P u b l i c K e y T o k e n = n u l l " >  
             < T i t l e F o n t S t y l e >  
                 < S l i d e N u m b e r > 4 3 < / S l i d e N u m b e r >  
                 < S l i d e I n d e x > 4 4 < / S l i d e I n d e x >  
                 < S h a p e I D > 4 < / S h a p e I D >  
                 < S h a p e I n d e x > 2 < / S h a p e I n d e x >  
                 < S h a p e I n d e x e s / >  
                 < L i n e N u m b e r > 1 < / L i n e N u m b e r >  
                 < S l i d e C o n t e n t T y p e > C o n t e n t S l i d e < / S l i d e C o n t e n t T y p e >  
                 < R o w I n d e x > 0 < / R o w I n d e x >  
                 < C o l u m n I n d e x > 0 < / C o l u m n I n d e x >  
                 < I s M s o T a b l e > f a l s e < / I s M s o T a b l e >  
             < / T i t l e F o n t S t y l e > 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c b b 0 4 b d - 8 a 6 e - 4 3 3 5 - 8 c f 8 - 5 a 6 6 5 1 7 5 b f 7 6 < / P r o b l e m N u m b e r >  
         < P r o p e r t y > T i t l e   P o s i t i o n   -   T i t l e   a n d   C o n t e n t   S l i d e s < / P r o p e r t y >  
         < P r o b l e m T o o l t i p > T h i s   t i t l e ' s   p o s i t i o n   i s   i n c o n s i s t e n t   w i t h   m o s t   o f   t h e   p r e s e n t a t i o n < / P r o b l e m T o o l t i p >  
         < I s s u e C o n t e x t > C o m p a n y < / I s s u e C o n t e x t >  
         < I s s u e C o n t e x t L i n e > C o m p a n y < / I s s u e C o n t e x t L i n e >  
         < P r o b l e m D e s c r i p t i o n F o r e g r o u n d > # 9 9 9 9 9 9 < / P r o b l e m D e s c r i p t i o n F o r e g r o u n d >  
         < S e l e c t e d R e c o m m e n d e d S t y l e I n d e x > 0 < / S e l e c t e d R e c o m m e n d e d S t y l e I n d e x >  
         < C o d e > & a m p ; # x f 0 a d ; < / C o d e >  
         < m s S l i d e I D > 5 6 9 1 < / m s S l i d e I D >  
         < X M L A l g o r i t h m   t y p e = " P o w e r P o i n t A d d I n . A l g o r i t h m s . T i t l e . T i t l e P o s i t i o n ,   A s t u t e P o w e r P o i n t A d d I n ,   V e r s i o n = 1 . 0 . 3 6 . 0 ,   C u l t u r e = n e u t r a l ,   P u b l i c K e y T o k e n = n u l l " >  
             < T i t l e P o s i t i o n >  
                 < S l i d e N u m b e r > 3 3 < / S l i d e N u m b e r >  
                 < S l i d e I n d e x > 3 4 < / S l i d e I n d e x >  
                 < S h a p e I D > 9 8 < / S h a p e I D >  
                 < L i n e N u m b e r > 0 < / L i n e N u m b e r >  
                 < S h a p e I n d e x > 3 < / S h a p e I n d e x >  
                 < S h a p e I n d e x e s / >  
                 < S l i d e C o n t e n t T y p e > C o n t e n t S l i d e < / S l i d e C o n t e n t T y p e >  
                 < R o w I n d e x > 0 < / R o w I n d e x >  
                 < C o l u m n I n d e x > 0 < / C o l u m n I n d e x >  
                 < I s M s o T a b l e > f a l s e < / I s M s o T a b l e >  
             < / T i t l e P o s i t i o n >  
         < / X M L A l g o r i t h m >  
         < I s s u e C o n t e x t I n n e r > T i t l e   P o s i t i o n   -   T i t l e   a n d   C o n t e n t   S l i d e s < / I s s u e C o n t e x t I n n e r >  
         < I s s u e C o n t e x t I n n e r T e x t > T i t l e   P o s i t i o n   -   T i t l e   a n d   C o n t e n t   S l i d e s < / 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4 0 e 6 1 b 8 - 1 a 4 3 - 4 5 2 9 - 9 3 9 b - 6 3 2 b 3 9 5 0 1 d 6 5 < / P r o b l e m N u m b e r >  
         < P r o p e r t y > T i t l e   P u n c t u a t i o n   -   T i t l e   a n d   C o n t e n t   S l i d e s < / P r o p e r t y >  
         < P r o b l e m T o o l t i p > T h i s   t i t l e ' s   e n d i n g   p u n c t u a t i o n   i s   i n c o n s i s t e n t   w i t h   m o s t   o f   t h e   p r e s e n t a t i o n < / P r o b l e m T o o l t i p >  
         < I s s u e C o n t e x t > E s t a b l i s h i n g   A   F o u n d a t i o n :   H o w   t o   E v a l u a t e   S u c c e s s ? < / I s s u e C o n t e x t >  
         < I s s u e C o n t e x t L i n e > E s t a b l i s h i n g   A   F o u n d a t i o n :   H o w   t o   E v a l u a t e   S u c c e s s ? < / I s s u e C o n t e x t L i n e >  
         < P r o b l e m D e s c r i p t i o n F o r e g r o u n d > # 9 9 9 9 9 9 < / P r o b l e m D e s c r i p t i o n F o r e g r o u n d >  
         < S e l e c t e d R e c o m m e n d e d S t y l e I n d e x > 0 < / S e l e c t e d R e c o m m e n d e d S t y l e I n d e x >  
         < C o d e > & a m p ; # x f 0 a d ; < / C o d e >  
         < m s S l i d e I D > 4 6 8 0 < / m s S l i d e I D >  
         < X M L A l g o r i t h m   t y p e = " P o w e r P o i n t A d d I n . A l g o r i t h m s . T i t l e . T i t l e P u n c t u a t i o n ,   A s t u t e P o w e r P o i n t A d d I n ,   V e r s i o n = 1 . 0 . 3 6 . 0 ,   C u l t u r e = n e u t r a l ,   P u b l i c K e y T o k e n = n u l l " >  
             < T i t l e P u n c t u a t i o n >  
                 < S l i d e N u m b e r > 2 9 < / S l i d e N u m b e r >  
                 < S l i d e I n d e x > 3 0 < / S l i d e I n d e x >  
                 < S h a p e I D > 6 < / S h a p e I D >  
                 < S h a p e I n d e x > 1 3 < / S h a p e I n d e x >  
                 < S h a p e I n d e x e s / >  
                 < L i n e N u m b e r > 1 < / L i n e N u m b e r >  
                 < S l i d e C o n t e n t T y p e > C o n t e n t S l i d e < / S l i d e C o n t e n t T y p e >  
                 < R o w I n d e x > 0 < / R o w I n d e x >  
                 < C o l u m n I n d e x > 0 < / C o l u m n I n d e x >  
                 < I s M s o T a b l e > f a l s e < / I s M s o T a b l e >  
             < / T i t l e P u n c t u 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9 f 1 0 9 2 - e f c b - 4 5 8 b - a c e d - 2 a 9 4 6 d e c 7 a c d < / P r o b l e m N u m b e r >  
         < P r o p e r t y > T i t l e   C a p i t a l i z a t i o n   -   T i t l e   a n d   C o n t e n t   S l i d e s < / P r o p e r t y >  
         < P r o b l e m T o o l t i p > T h i s   t i t l e ' s   c a p i t a l i z a t i o n   i s   i n c o n s i s t e n t   w i t h   m o s t   o f   t h e   p r e s e n t a t i o n < / P r o b l e m T o o l t i p >  
         < I s s u e C o n t e x t > G r a p h   w i t h   K e y   N o t e s :   E x a m p l e < / I s s u e C o n t e x t >  
         < I s s u e C o n t e x t L i n e > G r a p h   w i t h   K e y   N o t e s :   E x a m p l e < / I s s u e C o n t e x t L i n e >  
         < P r o b l e m D e s c r i p t i o n F o r e g r o u n d > # 9 9 9 9 9 9 < / P r o b l e m D e s c r i p t i o n F o r e g r o u n d >  
         < S e l e c t e d R e c o m m e n d e d S t y l e I n d e x > 0 < / S e l e c t e d R e c o m m e n d e d S t y l e I n d e x >  
         < C o d e > & a m p ; # x f 0 a d ; < / C o d e >  
         < m s S l i d e I D > 5 7 3 4 < / m s S l i d e I D >  
         < X M L A l g o r i t h m   t y p e = " P o w e r P o i n t A d d I n . A l g o r i t h m s . T i t l e . T i t l e C a p i t a l i z a t i o n N o A r t i c l e s ,   A s t u t e P o w e r P o i n t A d d I n ,   V e r s i o n = 1 . 0 . 3 6 . 0 ,   C u l t u r e = n e u t r a l ,   P u b l i c K e y T o k e n = n u l l " >  
             < T i t l e C a p i t a l i z a t i o n N o A r t i c l e s >  
                 < S l i d e N u m b e r > 1 1 < / S l i d e N u m b e r >  
                 < S l i d e I n d e x > 1 2 < / S l i d e I n d e x >  
                 < S h a p e I D > 1 1 < / S h a p e I D >  
                 < S h a p e I n d e x > 9 7 < / 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4 3 8 6 c 0 3 - f a b 7 - 4 c 5 0 - 9 7 a 9 - c 4 f f a 6 2 3 6 3 f 2 < / P r o b l e m N u m b e r >  
         < P r o p e r t y > T i t l e   C a p i t a l i z a t i o n   -   T i t l e   a n d   C o n t e n t   S l i d e s < / P r o p e r t y >  
         < P r o b l e m T o o l t i p > T h i s   t i t l e ' s   c a p i t a l i z a t i o n   i s   i n c o n s i s t e n t   w i t h   m o s t   o f   t h e   p r e s e n t a t i o n < / P r o b l e m T o o l t i p >  
         < I s s u e C o n t e x t > T w o   G r a p h s   C o m p a r i s o n :   E x a m p l e   w /   K e y   N o t e s < / I s s u e C o n t e x t >  
         < I s s u e C o n t e x t L i n e > T w o   G r a p h s   C o m p a r i s o n :   E x a m p l e   w /   K e y   N o t e s < / I s s u e C o n t e x t L i n e >  
         < P r o b l e m D e s c r i p t i o n F o r e g r o u n d > # 9 9 9 9 9 9 < / P r o b l e m D e s c r i p t i o n F o r e g r o u n d >  
         < S e l e c t e d R e c o m m e n d e d S t y l e I n d e x > 0 < / S e l e c t e d R e c o m m e n d e d S t y l e I n d e x >  
         < C o d e > & a m p ; # x f 0 a d ; < / C o d e >  
         < m s S l i d e I D > 5 7 3 5 < / m s S l i d e I D >  
         < X M L A l g o r i t h m   t y p e = " P o w e r P o i n t A d d I n . A l g o r i t h m s . T i t l e . T i t l e C a p i t a l i z a t i o n N o A r t i c l e s ,   A s t u t e P o w e r P o i n t A d d I n ,   V e r s i o n = 1 . 0 . 3 6 . 0 ,   C u l t u r e = n e u t r a l ,   P u b l i c K e y T o k e n = n u l l " >  
             < T i t l e C a p i t a l i z a t i o n N o A r t i c l e s >  
                 < S l i d e N u m b e r > 1 2 < / S l i d e N u m b e r >  
                 < S l i d e I n d e x > 1 3 < / S l i d e I n d e x >  
                 < S h a p e I D > 4 < / S h a p e I D >  
                 < S h a p e I n d e x > 2 2 5 < / 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7 a 8 1 c 1 a - 1 b 7 b - 4 2 0 d - a 7 9 0 - 4 f 8 b e f a 2 0 e 6 3 < / P r o b l e m N u m b e r >  
         < P r o p e r t y > T i t l e   C a p i t a l i z a t i o n   -   T i t l e   a n d   C o n t e n t   S l i d e s < / P r o p e r t y >  
         < P r o b l e m T o o l t i p > T h i s   t i t l e ' s   c a p i t a l i z a t i o n   i s   i n c o n s i s t e n t   w i t h   m o s t   o f   t h e   p r e s e n t a t i o n < / P r o b l e m T o o l t i p >  
         < I s s u e C o n t e x t > S i z e   C o m p a r i s o n :   E x a m p l e   w /   K e y   N o t e s < / I s s u e C o n t e x t >  
         < I s s u e C o n t e x t L i n e > S i z e   C o m p a r i s o n :   E x a m p l e   w /   K e y   N o t e s < / I s s u e C o n t e x t L i n e >  
         < P r o b l e m D e s c r i p t i o n F o r e g r o u n d > # 9 9 9 9 9 9 < / P r o b l e m D e s c r i p t i o n F o r e g r o u n d >  
         < S e l e c t e d R e c o m m e n d e d S t y l e I n d e x > 0 < / S e l e c t e d R e c o m m e n d e d S t y l e I n d e x >  
         < C o d e > & a m p ; # x f 0 a d ; < / C o d e >  
         < m s S l i d e I D > 5 7 3 9 < / m s S l i d e I D >  
         < X M L A l g o r i t h m   t y p e = " P o w e r P o i n t A d d I n . A l g o r i t h m s . T i t l e . T i t l e C a p i t a l i z a t i o n N o A r t i c l e s ,   A s t u t e P o w e r P o i n t A d d I n ,   V e r s i o n = 1 . 0 . 3 6 . 0 ,   C u l t u r e = n e u t r a l ,   P u b l i c K e y T o k e n = n u l l " >  
             < T i t l e C a p i t a l i z a t i o n N o A r t i c l e s >  
                 < S l i d e N u m b e r > 1 6 < / S l i d e N u m b e r >  
                 < S l i d e I n d e x > 1 7 < / S l i d e I n d e x >  
                 < S h a p e I D > 2 < / S h a p e I D >  
                 < S h a p e I n d e x > 3 0 < / S h a p e I n d e x >  
                 < S h a p e I n d e x e s / >  
                 < L i n e N u m b e r > 1 < / L i n e N u m b e r >  
                 < S l i d e C o n t e n t T y p e > C o n t e n t S l i d e < / S l i d e C o n t e n t T y p e >  
                 < R o w I n d e x > 0 < / R o w I n d e x >  
                 < C o l u m n I n d e x > 0 < / C o l u m n I n d e x >  
                 < I s M s o T a b l e > f a l s e < / I s M s o T a b l e >  
             < / T i t l e C a p i t a l i z a t i o n N o A r t i c l e s > 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c 3 2 4 2 7 5 - 4 c 6 9 - 4 b 2 1 - b b c 5 - 8 2 5 f f 7 a d 6 2 4 f < / P r o b l e m N u m b e r >  
         < P r o p e r t y > T i t l e   A r t i c l e   C a p i t a l i z a t i o n   -   T i t l e   a n d   C o n t e n t   S l i d e s < / P r o p e r t y >  
         < P r o b l e m T o o l t i p > T h i s   t i t l e ' s   c a p i t a l i z a t i o n   f o r   a r t i c l e s   i s   i n c o n s i s t e n t   w i t h   m o s t   o f   t h e   p r e s e n t a t i o n < / P r o b l e m T o o l t i p >  
         < I s s u e C o n t e x t > A < / I s s u e C o n t e x t >  
         < I s s u e C o n t e x t L i n e > E s t a b l i s h i n g   A   F o u n d a t i o n :   H o w   t o   E v a l u a t e   S u c c e s s ? < / I s s u e C o n t e x t L i n e >  
         < P r o b l e m D e s c r i p t i o n F o r e g r o u n d > # 9 9 9 9 9 9 < / P r o b l e m D e s c r i p t i o n F o r e g r o u n d >  
         < S e l e c t e d R e c o m m e n d e d S t y l e I n d e x > 0 < / S e l e c t e d R e c o m m e n d e d S t y l e I n d e x >  
         < C o d e > & a m p ; # x f 0 a d ; < / C o d e >  
         < m s S l i d e I D > 4 6 8 0 < / m s S l i d e I D >  
         < X M L A l g o r i t h m   t y p e = " P o w e r P o i n t A d d I n . A l g o r i t h m s . T i t l e . T i t l e A r t i c l e C a p i t a l i z a t i o n ,   A s t u t e P o w e r P o i n t A d d I n ,   V e r s i o n = 1 . 0 . 3 6 . 0 ,   C u l t u r e = n e u t r a l ,   P u b l i c K e y T o k e n = n u l l " >  
             < T i t l e A r t i c l e C a p i t a l i z a t i o n >  
                 < S l i d e N u m b e r > 2 9 < / S l i d e N u m b e r >  
                 < S l i d e I n d e x > 3 0 < / S l i d e I n d e x >  
                 < S h a p e I D > 6 < / S h a p e I D >  
                 < S h a p e I n d e x > 1 3 < / S h a p e I n d e x >  
                 < S h a p e I n d e x e s / >  
                 < L i n e N u m b e r > 1 < / L i n e N u m b e r >  
                 < S l i d e C o n t e n t T y p e > C o n t e n t S l i d e < / S l i d e C o n t e n t T y p e >  
                 < R o w I n d e x > 0 < / R o w I n d e x >  
                 < C o l u m n I n d e x > 0 < / C o l u m n I n d e x >  
                 < I s M s o T a b l e > f a l s e < / I s M s o T a b l e >  
             < / T i t l e A r t i c l e C a p i t a l i z 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4 1 6 4 6 7 8 - f 3 b 2 - 4 c 1 a - 9 8 7 2 - 7 2 2 1 8 0 d a c b 3 a < / P r o b l e m N u m b e r >  
         < P r o p e r t y > T i t l e   A r t i c l e   C a p i t a l i z a t i o n   -   T i t l e   a n d   C o n t e n t   S l i d e s < / P r o p e r t y >  
         < P r o b l e m T o o l t i p > T h i s   t i t l e ' s   c a p i t a l i z a t i o n   f o r   a r t i c l e s   i s   i n c o n s i s t e n t   w i t h   m o s t   o f   t h e   p r e s e n t a t i o n < / P r o b l e m T o o l t i p >  
         < I s s u e C o n t e x t > V A S   T o p   O p p o r t u n i t i e s :   B y   T i m e l i n e   & a m p ;   C r i t i c a l i t y   ( 1 / 6 ) < / I s s u e C o n t e x t >  
         < I s s u e C o n t e x t L i n e > V A S   T o p   O p p o r t u n i t i e s :   B y   T i m e l i n e   & a m p ;   C r i t i c a l i t y   ( 1 / 6 ) < / I s s u e C o n t e x t L i n e >  
         < P r o b l e m D e s c r i p t i o n F o r e g r o u n d > # 9 9 9 9 9 9 < / P r o b l e m D e s c r i p t i o n F o r e g r o u n d >  
         < S e l e c t e d R e c o m m e n d e d S t y l e I n d e x > 0 < / S e l e c t e d R e c o m m e n d e d S t y l e I n d e x >  
         < C o d e > & a m p ; # x f 0 a d ; < / C o d e >  
         < m s S l i d e I D > 5 1 6 8 < / m s S l i d e I D >  
         < X M L A l g o r i t h m   t y p e = " P o w e r P o i n t A d d I n . A l g o r i t h m s . T i t l e . T i t l e A r t i c l e C a p i t a l i z a t i o n ,   A s t u t e P o w e r P o i n t A d d I n ,   V e r s i o n = 1 . 0 . 3 6 . 0 ,   C u l t u r e = n e u t r a l ,   P u b l i c K e y T o k e n = n u l l " >  
             < T i t l e A r t i c l e C a p i t a l i z a t i o n >  
                 < S l i d e N u m b e r > 5 8 < / S l i d e N u m b e r >  
                 < S l i d e I n d e x > 5 9 < / S l i d e I n d e x >  
                 < S h a p e I D > 7 < / S h a p e I D >  
                 < S h a p e I n d e x > 9 < / S h a p e I n d e x >  
                 < S h a p e I n d e x e s / >  
                 < L i n e N u m b e r > 1 < / L i n e N u m b e r >  
                 < S l i d e C o n t e n t T y p e > C o n t e n t S l i d e < / S l i d e C o n t e n t T y p e >  
                 < R o w I n d e x > 0 < / R o w I n d e x >  
                 < C o l u m n I n d e x > 0 < / C o l u m n I n d e x >  
                 < I s M s o T a b l e > f a l s e < / I s M s o T a b l e >  
                 < A p p l i e d S t y l e >  
                     < I s M i x e d S t y l e > f a l s e < / I s M i x e d S t y l e >  
                     < S t y l e D e s c r i p t i o n > N o t   c a p i t a l i z e d < / S t y l e D e s c r i p t i o n >  
                     < C o l u m n 4 W i d t h > 6 5 < / C o l u m n 4 W i d t h >  
                     < F r e q u e n c y > 8 < / F r e q u e n c y >  
                     < S h o w F r e q u e n c y I n P e r c e n t a g e > f a l s e < / S h o w F r e q u e n c y I n P e r c e n t a g e >  
                     < F r e q u e n c y D e s c r i p t i o n > u s e s < / F r e q u e n c y D e s c r i p t i o n >  
                     < C o d e > 0 < / C o d e >  
                     < S e l e c t e d V a l u e   x s i : t y p e = " x s d : i n t " > 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T i t l e A r t i c l e C a p i t a l i z a t i o n >  
         < / X M L A l g o r i t h m >  
         < I s s u e C o n t e x t I n n e r > L i n e   N u m b e r   1 < / I s s u e C o n t e x t I n n e r >  
         < I s s u e C o n t e x t I n n e r T e x t > L i n e   N u m b e r   1 < / 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7 e e 8 9 1 b - 2 8 c 2 - 4 7 b 7 - 8 b 4 4 - e 0 b e b e e b 1 a 5 1 < / P r o b l e m N u m b e r >  
         < P r o p e r t y > D e c i m a l   P r e c i s i o n < / P r o p e r t y >  
         < P r o b l e m T o o l t i p > T h i s   d e c i m a l   p r e c i s i o n   i s   i n c o n s i s t e n t   w i t h   m o s t   o f   t h e   p r e s e n t a t i o n < / P r o b l e m T o o l t i p >  
         < I s s u e C o n t e x t > 0 . 9 0 < / I s s u e C o n t e x t >  
         < I s s u e C o n t e x t L i n e > $ 0 . 9 0 < / 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1 < / T a b l e C e l l N u m b e r >  
                 < S h a p e I n d e x > 9 5 < / S h a p e I n d e x >  
                 < S h a p e I n d e x e s / >  
                 < I s s u e W o r d > 0 . 9 0 < / 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1 6 4 0 2 7 b - 6 9 c 7 - 4 b d a - 8 0 a 8 - 7 9 5 a 2 2 7 e 8 7 3 8 < / P r o b l e m N u m b e r >  
         < P r o p e r t y > D e c i m a l   P r e c i s i o n < / P r o p e r t y >  
         < P r o b l e m T o o l t i p > T h i s   d e c i m a l   p r e c i s i o n   i s   i n c o n s i s t e n t   w i t h   m o s t   o f   t h e   p r e s e n t a t i o n < / P r o b l e m T o o l t i p >  
         < I s s u e C o n t e x t > 1 . 0 1 < / I s s u e C o n t e x t >  
         < I s s u e C o n t e x t L i n e > $ 1 . 0 1 < / 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2 < / T a b l e C e l l N u m b e r >  
                 < S h a p e I n d e x > 9 5 < / S h a p e I n d e x >  
                 < S h a p e I n d e x e s / >  
                 < I s s u e W o r d > 1 . 0 1 < / 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c d f 7 8 4 c - 0 e 6 e - 4 1 b 8 - b f 5 2 - 9 8 5 a 5 e 9 1 f a 2 f < / P r o b l e m N u m b e r >  
         < P r o p e r t y > D e c i m a l   P r e c i s i o n < / P r o p e r t y >  
         < P r o b l e m T o o l t i p > T h i s   d e c i m a l   p r e c i s i o n   i s   i n c o n s i s t e n t   w i t h   m o s t   o f   t h e   p r e s e n t a t i o n < / P r o b l e m T o o l t i p >  
         < I s s u e C o n t e x t > 1 . 3 1 < / I s s u e C o n t e x t >  
         < I s s u e C o n t e x t L i n e > $ 1 . 3 1 < / 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3 < / T a b l e C e l l N u m b e r >  
                 < S h a p e I n d e x > 9 5 < / S h a p e I n d e x >  
                 < S h a p e I n d e x e s / >  
                 < I s s u e W o r d > 1 . 3 1 < / 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2 3 9 7 d 1 d - 5 0 d 7 - 4 9 d f - 8 b 1 4 - 3 5 1 4 e 2 f 7 6 8 f 6 < / P r o b l e m N u m b e r >  
         < P r o p e r t y > D e c i m a l   P r e c i s i o n < / P r o p e r t y >  
         < P r o b l e m T o o l t i p > T h i s   d e c i m a l   p r e c i s i o n   i s   i n c o n s i s t e n t   w i t h   m o s t   o f   t h e   p r e s e n t a t i o n < / P r o b l e m T o o l t i p >  
         < I s s u e C o n t e x t > 1 . 3 9 < / I s s u e C o n t e x t >  
         < I s s u e C o n t e x t L i n e > $ 1 . 3 9 < / 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4 < / T a b l e C e l l N u m b e r >  
                 < S h a p e I n d e x > 9 5 < / S h a p e I n d e x >  
                 < S h a p e I n d e x e s / >  
                 < I s s u e W o r d > 1 . 3 9 < / 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2 c 2 9 4 5 c - e 8 4 4 - 4 c 5 e - 8 4 5 d - a 3 5 b 4 c b 1 8 c e 7 < / P r o b l e m N u m b e r >  
         < P r o p e r t y > D e c i m a l   P r e c i s i o n < / P r o p e r t y >  
         < P r o b l e m T o o l t i p > T h i s   d e c i m a l   p r e c i s i o n   i s   i n c o n s i s t e n t   w i t h   m o s t   o f   t h e   p r e s e n t a t i o n < / P r o b l e m T o o l t i p >  
         < I s s u e C o n t e x t > 1 . 0 0 < / I s s u e C o n t e x t >  
         < I s s u e C o n t e x t L i n e > $ 1 . 0 0 < / 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5 < / T a b l e C e l l N u m b e r >  
                 < S h a p e I n d e x > 9 5 < / S h a p e I n d e x >  
                 < S h a p e I n d e x e s / >  
                 < I s s u e W o r d > 1 . 0 0 < / 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0 2 f e 1 e 6 - 2 0 7 4 - 4 6 8 f - a f 3 e - e a f c 9 6 a 8 2 1 f 5 < / P r o b l e m N u m b e r >  
         < P r o p e r t y > D e c i m a l   P r e c i s i o n < / P r o p e r t y >  
         < P r o b l e m T o o l t i p > T h i s   d e c i m a l   p r e c i s i o n   i s   i n c o n s i s t e n t   w i t h   m o s t   o f   t h e   p r e s e n t a t i o n < / P r o b l e m T o o l t i p >  
         < I s s u e C o n t e x t > 1 . 1 5 < / I s s u e C o n t e x t >  
         < I s s u e C o n t e x t L i n e > $ 1 . 1 5 < / I s s u e C o n t e x t L i n e >  
         < P r o b l e m D e s c r i p t i o n F o r e g r o u n d > # 9 9 9 9 9 9 < / P r o b l e m D e s c r i p t i o n F o r e g r o u n d >  
         < S e l e c t e d R e c o m m e n d e d S t y l e I n d e x > 0 < / S e l e c t e d R e c o m m e n d e d S t y l e I n d e x >  
         < C o d e > & a m p ; # x f 0 a d ; < / C o d e >  
         < m s S l i d e I D > 5 7 3 4 < / m s S l i d e I D >  
         < X M L A l g o r i t h m   t y p e = " P o w e r P o i n t A d d I n . A l g o r i t h m s . C o n t e n t . D e c i m a l P r e c i s i o n ,   A s t u t e P o w e r P o i n t A d d I n ,   V e r s i o n = 1 . 0 . 3 6 . 0 ,   C u l t u r e = n e u t r a l ,   P u b l i c K e y T o k e n = n u l l " >  
             < D e c i m a l P r e c i s i o n >  
                 < S l i d e N u m b e r > 1 1 < / S l i d e N u m b e r >  
                 < S l i d e I n d e x > 1 2 < / S l i d e I n d e x >  
                 < L i n e N u m b e r > 1 < / L i n e N u m b e r >  
                 < R o w I n d e x > 0 < / R o w I n d e x >  
                 < C o l u m n I n d e x > 0 < / C o l u m n I n d e x >  
                 < T a b l e R o w N u m b e r > 3 < / T a b l e R o w N u m b e r >  
                 < T a b l e C e l l N u m b e r > 6 < / T a b l e C e l l N u m b e r >  
                 < S h a p e I n d e x > 9 5 < / S h a p e I n d e x >  
                 < S h a p e I n d e x e s / >  
                 < I s s u e W o r d > 1 . 1 5 < / I s s u e W o r d >  
                 < W o r d I n d e x > 2 < / W o r d I n d e x >  
                 < D e c i m a l I n d e x I n W o r d > 0 < / D e c i m a l I n d e x I n W o r d >  
                 < I s M u l t i p l e D e c i m a l W o r d > f a l s e < / I s M u l t i p l e D e c i m a l W o r d >  
                 < S h a p e I D > 2 6 8 < / S h a p e I D >  
                 < I s M s o T a b l e > t r u e < / I s M s o T a b 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3 8 5 f e 9 f - e 3 1 b - 4 6 e 1 - 8 f f 3 - a d 0 9 5 a e 7 8 b b a < / P r o b l e m N u m b e r >  
         < P r o p e r t y > D e c i m a l   P r e c i s i o n < / P r o p e r t y >  
         < P r o b l e m T o o l t i p > T h i s   d e c i m a l   p r e c i s i o n   i s   i n c o n s i s t e n t   w i t h   m o s t   o f   t h e   p r e s e n t a t i o n < / P r o b l e m T o o l t i p >  
         < I s s u e C o n t e x t > 0 . 7 1 < / I s s u e C o n t e x t >  
         < I s s u e C o n t e x t L i n e > 0 . 7 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3 < / S h a p e I n d e x >  
                 < S h a p e I n d e x e s / >  
                 < I s s u e W o r d > 0 . 7 1 < / I s s u e W o r d >  
                 < W o r d I n d e x > 1 < / W o r d I n d e x >  
                 < D e c i m a l I n d e x I n W o r d > 0 < / D e c i m a l I n d e x I n W o r d >  
                 < I s M u l t i p l e D e c i m a l W o r d > f a l s e < / I s M u l t i p l e D e c i m a l W o r d >  
                 < S h a p e I D > 1 6 2 < / S h a p e I D >  
                 < I s M s o T a b l e > f a l s e < / I s M s o T a b l e >  
                 < A p p l i e d S t y l e >  
                     < I s M i x e d S t y l e > f a l s e < / I s M i x e d S t y l e >  
                     < D e s c r i p t i o n S h o w B l a c k 1 > 0 . 7 < / 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7 < / 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f 1 0 f a d f - 5 4 3 3 - 4 d 0 9 - 8 1 9 e - a d f f a f 4 3 3 c 7 f < / 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4 < / S h a p e I n d e x >  
                 < S h a p e I n d e x e s / >  
                 < I s s u e W o r d > 0 . 6 0 < / I s s u e W o r d >  
                 < W o r d I n d e x > 1 < / W o r d I n d e x >  
                 < D e c i m a l I n d e x I n W o r d > 0 < / D e c i m a l I n d e x I n W o r d >  
                 < I s M u l t i p l e D e c i m a l W o r d > f a l s e < / I s M u l t i p l e D e c i m a l W o r d >  
                 < S h a p e I D > 1 6 3 < / 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c a 1 a 9 2 0 - 1 f 8 e - 4 d f 3 - 9 9 1 7 - 0 5 d 7 b 0 5 6 7 c 6 d < / P r o b l e m N u m b e r >  
         < P r o p e r t y > D e c i m a l   P r e c i s i o n < / P r o p e r t y >  
         < P r o b l e m T o o l t i p > T h i s   d e c i m a l   p r e c i s i o n   i s   i n c o n s i s t e n t   w i t h   m o s t   o f   t h e   p r e s e n t a t i o n < / P r o b l e m T o o l t i p >  
         < I s s u e C o n t e x t > 0 . 7 8 < / I s s u e C o n t e x t >  
         < I s s u e C o n t e x t L i n e > 0 . 7 8 < / 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5 < / S h a p e I n d e x >  
                 < S h a p e I n d e x e s / >  
                 < I s s u e W o r d > 0 . 7 8 < / I s s u e W o r d >  
                 < W o r d I n d e x > 1 < / W o r d I n d e x >  
                 < D e c i m a l I n d e x I n W o r d > 0 < / D e c i m a l I n d e x I n W o r d >  
                 < I s M u l t i p l e D e c i m a l W o r d > f a l s e < / I s M u l t i p l e D e c i m a l W o r d >  
                 < S h a p e I D > 1 2 6 < / S h a p e I D >  
                 < I s M s o T a b l e > f a l s e < / I s M s o T a b l e >  
                 < A p p l i e d S t y l e >  
                     < I s M i x e d S t y l e > f a l s e < / I s M i x e d S t y l e >  
                     < D e s c r i p t i o n S h o w B l a c k 1 > 0 . < / D e s c r i p t i o n S h o w B l a c k 1 >  
                     < D e s c r i p t i o n S h o w R e d 1 > 8 < / D e s c r i p t i o n S h o w R e d 1 >  
                     < C o l u m n 4 W i d t h > 6 5 < / C o l u m n 4 W i d t h >  
                     < F r e q u e n c y > 1 2 1 < / F r e q u e n c y >  
                     < S h o w F r e q u e n c y I n P e r c e n t a g e > f a l s e < / S h o w F r e q u e n c y I n P e r c e n t a g e >  
                     < F r e q u e n c y D e s c r i p t i o n > u s e s < / F r e q u e n c y D e s c r i p t i o n >  
                     < C o d e > 0 < / C o d e >  
                     < S e l e c t e d V a l u e   x s i : t y p e = " x s d : s t r i n g " > 0 . 8 < / 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0 5 0 d f 4 2 - 9 b e 3 - 4 d 3 b - b 2 6 e - 2 5 6 f 8 0 1 e a 0 a e < / P r o b l e m N u m b e r >  
         < P r o p e r t y > D e c i m a l   P r e c i s i o n < / P r o p e r t y >  
         < P r o b l e m T o o l t i p > T h i s   d e c i m a l   p r e c i s i o n   i s   i n c o n s i s t e n t   w i t h   m o s t   o f   t h e   p r e s e n t a t i o n < / P r o b l e m T o o l t i p >  
         < I s s u e C o n t e x t > 2 . 0 3 < / I s s u e C o n t e x t >  
         < I s s u e C o n t e x t L i n e > 2 . 0 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6 < / S h a p e I n d e x >  
                 < S h a p e I n d e x e s / >  
                 < I s s u e W o r d > 2 . 0 3 < / I s s u e W o r d >  
                 < W o r d I n d e x > 1 < / W o r d I n d e x >  
                 < D e c i m a l I n d e x I n W o r d > 0 < / D e c i m a l I n d e x I n W o r d >  
                 < I s M u l t i p l e D e c i m a l W o r d > f a l s e < / I s M u l t i p l e D e c i m a l W o r d >  
                 < S h a p e I D > 1 2 5 < / 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5 9 a 9 d 0 b - a 6 1 2 - 4 4 8 0 - 8 a f b - 6 2 5 7 e 7 b 1 1 b 3 6 < / P r o b l e m N u m b e r >  
         < P r o p e r t y > D e c i m a l   P r e c i s i o n < / P r o p e r t y >  
         < P r o b l e m T o o l t i p > T h i s   d e c i m a l   p r e c i s i o n   i s   i n c o n s i s t e n t   w i t h   m o s t   o f   t h e   p r e s e n t a t i o n < / P r o b l e m T o o l t i p >  
         < I s s u e C o n t e x t > 0 . 9 1 < / I s s u e C o n t e x t >  
         < I s s u e C o n t e x t L i n e > 0 . 9 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8 < / S h a p e I n d e x >  
                 < S h a p e I n d e x e s / >  
                 < I s s u e W o r d > 0 . 9 1 < / I s s u e W o r d >  
                 < W o r d I n d e x > 1 < / W o r d I n d e x >  
                 < D e c i m a l I n d e x I n W o r d > 0 < / D e c i m a l I n d e x I n W o r d >  
                 < I s M u l t i p l e D e c i m a l W o r d > f a l s e < / I s M u l t i p l e D e c i m a l W o r d >  
                 < S h a p e I D > 1 2 9 < / S h a p e I D >  
                 < I s M s o T a b l e > f a l s e < / I s M s o T a b l e >  
                 < A p p l i e d S t y l e >  
                     < I s M i x e d S t y l e > f a l s e < / I s M i x e d S t y l e >  
                     < D e s c r i p t i o n S h o w B l a c k 1 > 0 . 9 < / 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9 < / 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0 b 4 4 5 6 a - 1 5 a b - 4 c 9 d - a a b 6 - 0 a 8 0 b 3 7 9 2 b a 9 < / P r o b l e m N u m b e r >  
         < P r o p e r t y > D e c i m a l   P r e c i s i o n < / P r o p e r t y >  
         < P r o b l e m T o o l t i p > T h i s   d e c i m a l   p r e c i s i o n   i s   i n c o n s i s t e n t   w i t h   m o s t   o f   t h e   p r e s e n t a t i o n < / P r o b l e m T o o l t i p >  
         < I s s u e C o n t e x t > 1 . 0 5 < / I s s u e C o n t e x t >  
         < I s s u e C o n t e x t L i n e > 1 . 0 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3 9 < / S h a p e I n d e x >  
                 < S h a p e I n d e x e s / >  
                 < I s s u e W o r d > 1 . 0 5 < / I s s u e W o r d >  
                 < W o r d I n d e x > 1 < / W o r d I n d e x >  
                 < D e c i m a l I n d e x I n W o r d > 0 < / D e c i m a l I n d e x I n W o r d >  
                 < I s M u l t i p l e D e c i m a l W o r d > f a l s e < / I s M u l t i p l e D e c i m a l W o r d >  
                 < S h a p e I D > 1 6 8 < / S h a p e I D >  
                 < I s M s o T a b l e > f a l s e < / I s M s o T a b l e >  
                 < A p p l i e d S t y l e >  
                     < I s M i x e d S t y l e > f a l s e < / I s M i x e d S t y l e >  
                     < D e s c r i p t i o n S h o w B l a c k 1 > 1 . < / 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b 7 8 d 6 8 8 - 4 0 3 3 - 4 f b c - a 5 4 8 - 3 2 7 d 6 e 1 9 6 d 0 b < / P r o b l e m N u m b e r >  
         < P r o p e r t y > D e c i m a l   P r e c i s i o n < / P r o p e r t y >  
         < P r o b l e m T o o l t i p > T h i s   d e c i m a l   p r e c i s i o n   i s   i n c o n s i s t e n t   w i t h   m o s t   o f   t h e   p r e s e n t a t i o n < / P r o b l e m T o o l t i p >  
         < I s s u e C o n t e x t > 2 . 0 3 < / I s s u e C o n t e x t >  
         < I s s u e C o n t e x t L i n e > 2 . 0 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0 < / S h a p e I n d e x >  
                 < S h a p e I n d e x e s / >  
                 < I s s u e W o r d > 2 . 0 3 < / I s s u e W o r d >  
                 < W o r d I n d e x > 1 < / W o r d I n d e x >  
                 < D e c i m a l I n d e x I n W o r d > 0 < / D e c i m a l I n d e x I n W o r d >  
                 < I s M u l t i p l e D e c i m a l W o r d > f a l s e < / I s M u l t i p l e D e c i m a l W o r d >  
                 < S h a p e I D > 1 6 1 < / 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1 7 6 4 f 1 9 - 3 a 7 1 - 4 9 7 f - 9 e 1 5 - a 5 2 8 2 3 0 9 b 3 3 5 < / P r o b l e m N u m b e r >  
         < P r o p e r t y > D e c i m a l   P r e c i s i o n < / P r o p e r t y >  
         < P r o b l e m T o o l t i p > T h i s   d e c i m a l   p r e c i s i o n   i s   i n c o n s i s t e n t   w i t h   m o s t   o f   t h e   p r e s e n t a t i o n < / P r o b l e m T o o l t i p >  
         < I s s u e C o n t e x t > 2 . 0 2 < / I s s u e C o n t e x t >  
         < I s s u e C o n t e x t L i n e > 2 . 0 2 < / 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2 < / S h a p e I n d e x >  
                 < S h a p e I n d e x e s / >  
                 < I s s u e W o r d > 2 . 0 2 < / I s s u e W o r d >  
                 < W o r d I n d e x > 1 < / W o r d I n d e x >  
                 < D e c i m a l I n d e x I n W o r d > 0 < / D e c i m a l I n d e x I n W o r d >  
                 < I s M u l t i p l e D e c i m a l W o r d > f a l s e < / I s M u l t i p l e D e c i m a l W o r d >  
                 < S h a p e I D > 1 6 7 < / S h a p e I D >  
                 < I s M s o T a b l e > f a l s e < / I s M s o T a b l e >  
                 < A p p l i e d S t y l e >  
                     < I s M i x e d S t y l e > f a l s e < / I s M i x e d S t y l e >  
                     < D e s c r i p t i o n S h o w B l a c k 1 > 2 . 0 < / 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9 5 0 4 f f 1 - d 2 d 8 - 4 1 3 e - 8 f c e - 5 4 d 8 b 7 7 b a e 7 f < / P r o b l e m N u m b e r >  
         < P r o p e r t y > D e c i m a l   P r e c i s i o n < / P r o p e r t y >  
         < P r o b l e m T o o l t i p > T h i s   d e c i m a l   p r e c i s i o n   i s   i n c o n s i s t e n t   w i t h   m o s t   o f   t h e   p r e s e n t a t i o n < / P r o b l e m T o o l t i p >  
         < I s s u e C o n t e x t > 3 . 0 8 < / I s s u e C o n t e x t >  
         < I s s u e C o n t e x t L i n e > 3 . 0 8 < / 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3 < / S h a p e I n d e x >  
                 < S h a p e I n d e x e s / >  
                 < I s s u e W o r d > 3 . 0 8 < / I s s u e W o r d >  
                 < W o r d I n d e x > 1 < / W o r d I n d e x >  
                 < D e c i m a l I n d e x I n W o r d > 0 < / D e c i m a l I n d e x I n W o r d >  
                 < I s M u l t i p l e D e c i m a l W o r d > f a l s e < / I s M u l t i p l e D e c i m a l W o r d >  
                 < S h a p e I D > 1 6 6 < / S h a p e I D >  
                 < I s M s o T a b l e > f a l s e < / I s M s o T a b l e >  
                 < A p p l i e d S t y l e >  
                     < I s M i x e d S t y l e > f a l s e < / I s M i x e d S t y l e >  
                     < D e s c r i p t i o n S h o w B l a c k 1 > 3 . < / 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3 . 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0 4 3 3 9 9 e - 6 3 a 5 - 4 0 0 d - a 2 3 f - 7 5 5 6 8 0 8 1 8 f 5 b < / P r o b l e m N u m b e r >  
         < P r o p e r t y > D e c i m a l   P r e c i s i o n < / P r o p e r t y >  
         < P r o b l e m T o o l t i p > T h i s   d e c i m a l   p r e c i s i o n   i s   i n c o n s i s t e n t   w i t h   m o s t   o f   t h e   p r e s e n t a t i o n < / P r o b l e m T o o l t i p >  
         < I s s u e C o n t e x t > 3 . 7 1 < / I s s u e C o n t e x t >  
         < I s s u e C o n t e x t L i n e > 3 . 7 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5 < / S h a p e I n d e x >  
                 < S h a p e I n d e x e s / >  
                 < I s s u e W o r d > 3 . 7 1 < / I s s u e W o r d >  
                 < W o r d I n d e x > 1 < / W o r d I n d e x >  
                 < D e c i m a l I n d e x I n W o r d > 0 < / D e c i m a l I n d e x I n W o r d >  
                 < I s M u l t i p l e D e c i m a l W o r d > f a l s e < / I s M u l t i p l e D e c i m a l W o r d >  
                 < S h a p e I D > 1 1 3 < / S h a p e I D >  
                 < I s M s o T a b l e > f a l s e < / I s M s o T a b l e >  
                 < A p p l i e d S t y l e >  
                     < I s M i x e d S t y l e > f a l s e < / I s M i x e d S t y l e >  
                     < D e s c r i p t i o n S h o w B l a c k 1 > 3 . 7 < / 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7 < / 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c f 0 f f b 7 - b f 9 0 - 4 1 f c - a 0 2 1 - e d c 5 b a c f 2 a 2 5 < / P r o b l e m N u m b e r >  
         < P r o p e r t y > D e c i m a l   P r e c i s i o n < / P r o p e r t y >  
         < P r o b l e m T o o l t i p > T h i s   d e c i m a l   p r e c i s i o n   i s   i n c o n s i s t e n t   w i t h   m o s t   o f   t h e   p r e s e n t a t i o n < / P r o b l e m T o o l t i p >  
         < I s s u e C o n t e x t > 1 . 0 5 < / I s s u e C o n t e x t >  
         < I s s u e C o n t e x t L i n e > 1 . 0 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4 6 < / S h a p e I n d e x >  
                 < S h a p e I n d e x e s / >  
                 < I s s u e W o r d > 1 . 0 5 < / I s s u e W o r d >  
                 < W o r d I n d e x > 1 < / W o r d I n d e x >  
                 < D e c i m a l I n d e x I n W o r d > 0 < / D e c i m a l I n d e x I n W o r d >  
                 < I s M u l t i p l e D e c i m a l W o r d > f a l s e < / I s M u l t i p l e D e c i m a l W o r d >  
                 < S h a p e I D > 1 8 1 < / S h a p e I D >  
                 < I s M s o T a b l e > f a l s e < / I s M s o T a b l e >  
                 < A p p l i e d S t y l e >  
                     < I s M i x e d S t y l e > f a l s e < / I s M i x e d S t y l e >  
                     < D e s c r i p t i o n S h o w B l a c k 1 > 1 . < / D e s c r i p t i o n S h o w B l a c k 1 >  
                     < D e s c r i p t i o n S h o w R e d 1 > 1 < / 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f 3 6 1 a b a - 6 e 6 0 - 4 a e e - a 2 8 5 - 7 6 d d 7 b f 8 d 5 6 0 < / P r o b l e m N u m b e r >  
         < P r o p e r t y > D e c i m a l   P r e c i s i o n < / P r o p e r t y >  
         < P r o b l e m T o o l t i p > T h i s   d e c i m a l   p r e c i s i o n   i s   i n c o n s i s t e n t   w i t h   m o s t   o f   t h e   p r e s e n t a t i o n < / P r o b l e m T o o l t i p >  
         < I s s u e C o n t e x t > 3 . 3 3 < / I s s u e C o n t e x t >  
         < I s s u e C o n t e x t L i n e > 3 . 3 3 < / 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1 < / S h a p e I n d e x >  
                 < S h a p e I n d e x e s / >  
                 < I s s u e W o r d > 3 . 3 3 < / I s s u e W o r d >  
                 < W o r d I n d e x > 1 < / W o r d I n d e x >  
                 < D e c i m a l I n d e x I n W o r d > 0 < / D e c i m a l I n d e x I n W o r d >  
                 < I s M u l t i p l e D e c i m a l W o r d > f a l s e < / I s M u l t i p l e D e c i m a l W o r d >  
                 < S h a p e I D > 1 6 0 < / S h a p e I D >  
                 < I s M s o T a b l e > f a l s e < / I s M s o T a b l e >  
                 < A p p l i e d S t y l e >  
                     < I s M i x e d S t y l e > f a l s e < / I s M i x e d S t y l e >  
                     < D e s c r i p t i o n S h o w B l a c k 1 > 3 . 3 < / 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3 < / 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5 a 8 4 7 e 8 - b b c 1 - 4 2 1 e - a e 4 2 - 1 3 f 9 e 2 e 6 1 2 b e < / P r o b l e m N u m b e r >  
         < P r o p e r t y > D e c i m a l   P r e c i s i o n < / P r o p e r t y >  
         < P r o b l e m T o o l t i p > T h i s   d e c i m a l   p r e c i s i o n   i s   i n c o n s i s t e n t   w i t h   m o s t   o f   t h e   p r e s e n t a t i o n < / P r o b l e m T o o l t i p >  
         < I s s u e C o n t e x t > 1 . 9 2 < / I s s u e C o n t e x t >  
         < I s s u e C o n t e x t L i n e > 1 . 9 2 < / 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2 < / S h a p e I n d e x >  
                 < S h a p e I n d e x e s / >  
                 < I s s u e W o r d > 1 . 9 2 < / I s s u e W o r d >  
                 < W o r d I n d e x > 1 < / W o r d I n d e x >  
                 < D e c i m a l I n d e x I n W o r d > 0 < / D e c i m a l I n d e x I n W o r d >  
                 < I s M u l t i p l e D e c i m a l W o r d > f a l s e < / I s M u l t i p l e D e c i m a l W o r d >  
                 < S h a p e I D > 1 8 0 < / S h a p e I D >  
                 < I s M s o T a b l e > f a l s e < / I s M s o T a b l e >  
                 < A p p l i e d S t y l e >  
                     < I s M i x e d S t y l e > f a l s e < / I s M i x e d S t y l e >  
                     < D e s c r i p t i o n S h o w B l a c k 1 > 1 . 9 < / 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1 . 9 < / 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b b 9 0 2 8 e - b 5 e 0 - 4 4 0 6 - b b e 7 - 8 8 7 a 6 9 d 1 7 0 e 4 < / 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3 < / S h a p e I n d e x >  
                 < S h a p e I n d e x e s / >  
                 < I s s u e W o r d > 0 . 6 0 < / I s s u e W o r d >  
                 < W o r d I n d e x > 1 < / W o r d I n d e x >  
                 < D e c i m a l I n d e x I n W o r d > 0 < / D e c i m a l I n d e x I n W o r d >  
                 < I s M u l t i p l e D e c i m a l W o r d > f a l s e < / I s M u l t i p l e D e c i m a l W o r d >  
                 < S h a p e I D > 7 5 < / 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9 1 a a a d 1 - 9 7 2 b - 4 8 3 8 - 9 e 7 3 - f 9 3 2 c a 1 9 3 2 8 3 < / P r o b l e m N u m b e r >  
         < P r o p e r t y > D e c i m a l   P r e c i s i o n < / P r o p e r t y >  
         < P r o b l e m T o o l t i p > T h i s   d e c i m a l   p r e c i s i o n   i s   i n c o n s i s t e n t   w i t h   m o s t   o f   t h e   p r e s e n t a t i o n < / P r o b l e m T o o l t i p >  
         < I s s u e C o n t e x t > 2 . 4 5 < / I s s u e C o n t e x t >  
         < I s s u e C o n t e x t L i n e > 2 . 4 5 < / 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4 < / S h a p e I n d e x >  
                 < S h a p e I n d e x e s / >  
                 < I s s u e W o r d > 2 . 4 5 < / I s s u e W o r d >  
                 < W o r d I n d e x > 1 < / W o r d I n d e x >  
                 < D e c i m a l I n d e x I n W o r d > 0 < / D e c i m a l I n d e x I n W o r d >  
                 < I s M u l t i p l e D e c i m a l W o r d > f a l s e < / I s M u l t i p l e D e c i m a l W o r d >  
                 < S h a p e I D > 1 3 0 < / S h a p e I D >  
                 < I s M s o T a b l e > f a l s e < / I s M s o T a b l e >  
                 < A p p l i e d S t y l e >  
                     < I s M i x e d S t y l e > f a l s e < / I s M i x e d S t y l e >  
                     < D e s c r i p t i o n S h o w B l a c k 1 > 2 . < / D e s c r i p t i o n S h o w B l a c k 1 >  
                     < D e s c r i p t i o n S h o w R e d 1 > 5 < / D e s c r i p t i o n S h o w R e d 1 >  
                     < C o l u m n 4 W i d t h > 6 5 < / C o l u m n 4 W i d t h >  
                     < F r e q u e n c y > 1 2 1 < / F r e q u e n c y >  
                     < S h o w F r e q u e n c y I n P e r c e n t a g e > f a l s e < / S h o w F r e q u e n c y I n P e r c e n t a g e >  
                     < F r e q u e n c y D e s c r i p t i o n > u s e s < / F r e q u e n c y D e s c r i p t i o n >  
                     < C o d e > 0 < / C o d e >  
                     < S e l e c t e d V a l u e   x s i : t y p e = " x s d : s t r i n g " > 2 . 5 < / 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c 5 1 0 5 8 8 1 - f 8 4 c - 4 e 5 f - b 7 0 6 - 5 1 f 9 9 4 0 7 a a 9 a < / P r o b l e m N u m b e r >  
         < P r o p e r t y > D e c i m a l   P r e c i s i o n < / P r o p e r t y >  
         < P r o b l e m T o o l t i p > T h i s   d e c i m a l   p r e c i s i o n   i s   i n c o n s i s t e n t   w i t h   m o s t   o f   t h e   p r e s e n t a t i o n < / P r o b l e m T o o l t i p >  
         < I s s u e C o n t e x t > 0 . 6 0 < / I s s u e C o n t e x t >  
         < I s s u e C o n t e x t L i n e > 0 . 6 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5 < / S h a p e I n d e x >  
                 < S h a p e I n d e x e s / >  
                 < I s s u e W o r d > 0 . 6 0 < / I s s u e W o r d >  
                 < W o r d I n d e x > 1 < / W o r d I n d e x >  
                 < D e c i m a l I n d e x I n W o r d > 0 < / D e c i m a l I n d e x I n W o r d >  
                 < I s M u l t i p l e D e c i m a l W o r d > f a l s e < / I s M u l t i p l e D e c i m a l W o r d >  
                 < S h a p e I D > 1 3 7 < / S h a p e I D >  
                 < I s M s o T a b l e > f a l s e < / I s M s o T a b l e >  
                 < A p p l i e d S t y l e >  
                     < I s M i x e d S t y l e > f a l s e < / I s M i x e d S t y l e >  
                     < D e s c r i p t i o n S h o w B l a c k 1 > 0 . 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0 . 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7 f 9 7 e 3 7 - f 2 4 5 - 4 4 5 b - 9 b a d - f 5 2 a 0 6 a f 1 e c e < / P r o b l e m N u m b e r >  
         < P r o p e r t y > D e c i m a l   P r e c i s i o n < / P r o p e r t y >  
         < P r o b l e m T o o l t i p > T h i s   d e c i m a l   p r e c i s i o n   i s   i n c o n s i s t e n t   w i t h   m o s t   o f   t h e   p r e s e n t a t i o n < / P r o b l e m T o o l t i p >  
         < I s s u e C o n t e x t > 3 . 4 0 < / I s s u e C o n t e x t >  
         < I s s u e C o n t e x t L i n e > 3 . 4 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6 < / S h a p e I n d e x >  
                 < S h a p e I n d e x e s / >  
                 < I s s u e W o r d > 3 . 4 0 < / I s s u e W o r d >  
                 < W o r d I n d e x > 1 < / W o r d I n d e x >  
                 < D e c i m a l I n d e x I n W o r d > 0 < / D e c i m a l I n d e x I n W o r d >  
                 < I s M u l t i p l e D e c i m a l W o r d > f a l s e < / I s M u l t i p l e D e c i m a l W o r d >  
                 < S h a p e I D > 1 2 4 < / S h a p e I D >  
                 < I s M s o T a b l e > f a l s e < / I s M s o T a b l e >  
                 < A p p l i e d S t y l e >  
                     < I s M i x e d S t y l e > f a l s e < / I s M i x e d S t y l e >  
                     < D e s c r i p t i o n S h o w B l a c k 1 > 3 . 4 < / 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3 . 4 < / 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f 0 d f d c 5 - 0 2 b 1 - 4 e b 2 - a d 3 a - e 9 4 f b c 1 7 5 6 5 9 < / P r o b l e m N u m b e r >  
         < P r o p e r t y > D e c i m a l   P r e c i s i o n < / P r o p e r t y >  
         < P r o b l e m T o o l t i p > T h i s   d e c i m a l   p r e c i s i o n   i s   i n c o n s i s t e n t   w i t h   m o s t   o f   t h e   p r e s e n t a t i o n < / P r o b l e m T o o l t i p >  
         < I s s u e C o n t e x t > 1 . 1 0 < / I s s u e C o n t e x t >  
         < I s s u e C o n t e x t L i n e > 1 . 1 0 < / 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8 < / S h a p e I n d e x >  
                 < S h a p e I n d e x e s / >  
                 < I s s u e W o r d > 1 . 1 0 < / I s s u e W o r d >  
                 < W o r d I n d e x > 1 < / W o r d I n d e x >  
                 < D e c i m a l I n d e x I n W o r d > 0 < / D e c i m a l I n d e x I n W o r d >  
                 < I s M u l t i p l e D e c i m a l W o r d > f a l s e < / I s M u l t i p l e D e c i m a l W o r d >  
                 < S h a p e I D > 1 1 5 < / S h a p e I D >  
                 < I s M s o T a b l e > f a l s e < / I s M s o T a b l e >  
                 < A p p l i e d S t y l e >  
                     < I s M i x e d S t y l e > f a l s e < / I s M i x e d S t y l e >  
                     < D e s c r i p t i o n S h o w B l a c k 1 > 1 . 1 < / 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1 . 1 < / 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b f e 7 6 4 7 - a 1 e b - 4 2 c b - a 2 7 f - 9 7 5 e a 4 1 2 6 5 e f < / P r o b l e m N u m b e r >  
         < P r o p e r t y > D e c i m a l   P r e c i s i o n < / P r o p e r t y >  
         < P r o b l e m T o o l t i p > T h i s   d e c i m a l   p r e c i s i o n   i s   i n c o n s i s t e n t   w i t h   m o s t   o f   t h e   p r e s e n t a t i o n < / P r o b l e m T o o l t i p >  
         < I s s u e C o n t e x t > 2 . 6 1 < / I s s u e C o n t e x t >  
         < I s s u e C o n t e x t L i n e > 2 . 6 1 < / 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5 9 < / S h a p e I n d e x >  
                 < S h a p e I n d e x e s / >  
                 < I s s u e W o r d > 2 . 6 1 < / I s s u e W o r d >  
                 < W o r d I n d e x > 1 < / W o r d I n d e x >  
                 < D e c i m a l I n d e x I n W o r d > 0 < / D e c i m a l I n d e x I n W o r d >  
                 < I s M u l t i p l e D e c i m a l W o r d > f a l s e < / I s M u l t i p l e D e c i m a l W o r d >  
                 < S h a p e I D > 1 1 4 < / S h a p e I D >  
                 < I s M s o T a b l e > f a l s e < / I s M s o T a b l e >  
                 < A p p l i e d S t y l e >  
                     < I s M i x e d S t y l e > f a l s e < / I s M i x e d S t y l e >  
                     < D e s c r i p t i o n S h o w B l a c k 1 > 2 . 6 < / D e s c r i p t i o n S h o w B l a c k 1 >  
                     < D e s c r i p t i o n S h o w R e d 1 / >  
                     < C o l u m n 4 W i d t h > 6 5 < / C o l u m n 4 W i d t h >  
                     < F r e q u e n c y > 1 2 1 < / F r e q u e n c y >  
                     < S h o w F r e q u e n c y I n P e r c e n t a g e > f a l s e < / S h o w F r e q u e n c y I n P e r c e n t a g e >  
                     < F r e q u e n c y D e s c r i p t i o n > u s e s < / F r e q u e n c y D e s c r i p t i o n >  
                     < C o d e > 0 < / C o d e >  
                     < S e l e c t e d V a l u e   x s i : t y p e = " x s d : s t r i n g " > 2 . 6 < / 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8 c 8 b e 3 e - 5 e 3 6 - 4 1 f 9 - b 5 4 1 - 3 3 a b b 9 a b 1 1 4 4 < / P r o b l e m N u m b e r >  
         < P r o p e r t y > D e c i m a l   P r e c i s i o n < / P r o p e r t y >  
         < P r o b l e m T o o l t i p > T h i s   d e c i m a l   p r e c i s i o n   i s   i n c o n s i s t e n t   w i t h   m o s t   o f   t h e   p r e s e n t a t i o n < / P r o b l e m T o o l t i p >  
         < I s s u e C o n t e x t > 3 . 9 6 < / I s s u e C o n t e x t >  
         < I s s u e C o n t e x t L i n e > 3 . 9 6 < / 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6 0 < / S h a p e I n d e x >  
                 < S h a p e I n d e x e s / >  
                 < I s s u e W o r d > 3 . 9 6 < / I s s u e W o r d >  
                 < W o r d I n d e x > 1 < / W o r d I n d e x >  
                 < D e c i m a l I n d e x I n W o r d > 0 < / D e c i m a l I n d e x I n W o r d >  
                 < I s M u l t i p l e D e c i m a l W o r d > f a l s e < / I s M u l t i p l e D e c i m a l W o r d >  
                 < S h a p e I D > 1 3 8 < / S h a p e I D >  
                 < I s M s o T a b l e > f a l s e < / I s M s o T a b l e >  
                 < A p p l i e d S t y l e >  
                     < I s M i x e d S t y l e > f a l s e < / I s M i x e d S t y l e >  
                     < D e s c r i p t i o n S h o w B l a c k 1 / >  
                     < D e s c r i p t i o n S h o w R e d 1 > 4 . 0 < / D e s c r i p t i o n S h o w R e d 1 >  
                     < C o l u m n 4 W i d t h > 6 5 < / C o l u m n 4 W i d t h >  
                     < F r e q u e n c y > 1 2 1 < / F r e q u e n c y >  
                     < S h o w F r e q u e n c y I n P e r c e n t a g e > f a l s e < / S h o w F r e q u e n c y I n P e r c e n t a g e >  
                     < F r e q u e n c y D e s c r i p t i o n > u s e s < / F r e q u e n c y D e s c r i p t i o n >  
                     < C o d e > 0 < / C o d e >  
                     < S e l e c t e d V a l u e   x s i : t y p e = " x s d : s t r i n g " > 4 . 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5 b 5 8 2 0 2 - 3 d 2 b - 4 4 d d - 8 0 7 f - a 6 e 1 8 b d 8 5 6 d d < / P r o b l e m N u m b e r >  
         < P r o p e r t y > D e c i m a l   P r e c i s i o n < / P r o p e r t y >  
         < P r o b l e m T o o l t i p > T h i s   d e c i m a l   p r e c i s i o n   i s   i n c o n s i s t e n t   w i t h   m o s t   o f   t h e   p r e s e n t a t i o n < / P r o b l e m T o o l t i p >  
         < I s s u e C o n t e x t > 2 . 9 7 < / I s s u e C o n t e x t >  
         < I s s u e C o n t e x t L i n e > 2 . 9 7 < / I s s u e C o n t e x t L i n e >  
         < P r o b l e m D e s c r i p t i o n F o r e g r o u n d > # 9 9 9 9 9 9 < / P r o b l e m D e s c r i p t i o n F o r e g r o u n d >  
         < S e l e c t e d R e c o m m e n d e d S t y l e I n d e x > 0 < / S e l e c t e d R e c o m m e n d e d S t y l e I n d e x >  
         < C o d e > & a m p ; # x f 0 a d ; < / C o d e >  
         < m s S l i d e I D > 5 6 9 9 < / m s S l i d e I D >  
         < X M L A l g o r i t h m   t y p e = " P o w e r P o i n t A d d I n . A l g o r i t h m s . C o n t e n t . D e c i m a l P r e c i s i o n ,   A s t u t e P o w e r P o i n t A d d I n ,   V e r s i o n = 1 . 0 . 3 6 . 0 ,   C u l t u r e = n e u t r a l ,   P u b l i c K e y T o k e n = n u l l " >  
             < D e c i m a l P r e c i s i o n >  
                 < S l i d e N u m b e r > 4 8 < / S l i d e N u m b e r >  
                 < S l i d e I n d e x > 4 9 < / S l i d e I n d e x >  
                 < L i n e N u m b e r > 1 < / L i n e N u m b e r >  
                 < R o w I n d e x > 0 < / R o w I n d e x >  
                 < C o l u m n I n d e x > 0 < / C o l u m n I n d e x >  
                 < T a b l e R o w N u m b e r > 0 < / T a b l e R o w N u m b e r >  
                 < T a b l e C e l l N u m b e r > 0 < / T a b l e C e l l N u m b e r >  
                 < S h a p e I n d e x > 6 1 < / S h a p e I n d e x >  
                 < S h a p e I n d e x e s / >  
                 < I s s u e W o r d > 2 . 9 7 < / I s s u e W o r d >  
                 < W o r d I n d e x > 1 < / W o r d I n d e x >  
                 < D e c i m a l I n d e x I n W o r d > 0 < / D e c i m a l I n d e x I n W o r d >  
                 < I s M u l t i p l e D e c i m a l W o r d > f a l s e < / I s M u l t i p l e D e c i m a l W o r d >  
                 < S h a p e I D > 1 7 9 < / S h a p e I D >  
                 < I s M s o T a b l e > f a l s e < / I s M s o T a b l e >  
                 < A p p l i e d S t y l e >  
                     < I s M i x e d S t y l e > f a l s e < / I s M i x e d S t y l e >  
                     < D e s c r i p t i o n S h o w B l a c k 1 / >  
                     < D e s c r i p t i o n S h o w R e d 1 > 3 . 0 < / D e s c r i p t i o n S h o w R e d 1 >  
                     < C o l u m n 4 W i d t h > 6 5 < / C o l u m n 4 W i d t h >  
                     < F r e q u e n c y > 1 2 1 < / F r e q u e n c y >  
                     < S h o w F r e q u e n c y I n P e r c e n t a g e > f a l s e < / S h o w F r e q u e n c y I n P e r c e n t a g e >  
                     < F r e q u e n c y D e s c r i p t i o n > u s e s < / F r e q u e n c y D e s c r i p t i o n >  
                     < C o d e > 0 < / C o d e >  
                     < S e l e c t e d V a l u e   x s i : t y p e = " x s d : s t r i n g " > 3 . 0 < / 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D e c i m a l P r e c i s i o n >  
         < / X M L A l g o r i t h m >  
         < I s s u e C o n t e x t I n n e r > D e c i m a l   P r e c i s i o n < / I s s u e C o n t e x t I n n e r >  
         < I s s u e C o n t e x t I n n e r T e x t > D e c i m a l   P r e c i s i o n < / 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5 e 9 e 6 f a - 4 e 8 c - 4 f f e - 8 8 9 7 - 5 3 b 1 c 2 7 5 e 6 8 4 < / P r o b l e m N u m b e r >  
         < P r o p e r t y > P u n c t u a t i o n   S p a c i n g < / P r o p e r t y >  
         < P r o b l e m T o o l t i p > T h i s   s p a c i n g   a r o u n d   p u n c t u a t i o n   i s   i n c o n s i s t e n t   w i t h   m o s t   o f   t h e   p r e s e n t a t i o n < / P r o b l e m T o o l t i p >  
         < I s s u e C o n t e x t > 2 4 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2 4 p t < / L e f t P u n c t u a t i o n D e s c r i p t i o n >  
                 < R i g h t P u n c t u a t i o n D e s c r i p t i o n > , < / R i g h t P u n c t u a t i o n D e s c r i p t i o n >  
                 < S l i d e N u m b e r > 1 < / S l i d e N u m b e r >  
                 < S l i d e I n d e x > 2 < / S l i d e I n d e x >  
                 < L i n e N u m b e r > 1 < / L i n e N u m b e r >  
                 < S h a p e I n d e x > 5 < / S h a p e I n d e x >  
                 < S h a p e I n d e x e s / >  
                 < O c c u r i n g I n d e x > 1 < / 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6 < / 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c e 8 1 f 6 4 - 3 f 9 6 - 4 e a 0 - a 7 c c - f c 6 9 0 2 f 1 e b e 1 < / P r o b l e m N u m b e r >  
         < P r o p e r t y > P u n c t u a t i o n   S p a c i n g < / P r o p e r t y >  
         < P r o b l e m T o o l t i p > T h i s   s p a c i n g   a r o u n d   p u n c t u a t i o n   i s   i n c o n s i s t e n t   w i t h   m o s t   o f   t h e   p r e s e n t a t i o n < / P r o b l e m T o o l t i p >  
         < I s s u e C o n t e x t > 1 8 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1 8 p t < / L e f t P u n c t u a t i o n D e s c r i p t i o n >  
                 < R i g h t P u n c t u a t i o n D e s c r i p t i o n > , < / R i g h t P u n c t u a t i o n D e s c r i p t i o n >  
                 < S l i d e N u m b e r > 1 < / S l i d e N u m b e r >  
                 < S l i d e I n d e x > 2 < / S l i d e I n d e x >  
                 < L i n e N u m b e r > 1 < / L i n e N u m b e r >  
                 < S h a p e I n d e x > 5 < / S h a p e I n d e x >  
                 < S h a p e I n d e x e s / >  
                 < O c c u r i n g I n d e x > 3 < / 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4 2 < / 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8 4 e 9 3 0 9 - 5 e 7 c - 4 8 b 8 - a b 0 e - 5 4 9 5 d 6 d e 1 3 6 c < / P r o b l e m N u m b e r >  
         < P r o p e r t y > P u n c t u a t i o n   S p a c i n g < / P r o p e r t y >  
         < P r o b l e m T o o l t i p > T h i s   s p a c i n g   a r o u n d   p u n c t u a t i o n   i s   i n c o n s i s t e n t   w i t h   m o s t   o f   t h e   p r e s e n t a t i o n < / P r o b l e m T o o l t i p >  
         < I s s u e C o n t e x t > 9 p t . , < / I s s u e C o n t e x t >  
         < I s s u e C o n t e x t L i n e > A l l   h e a d e r s   s h o u l d   b e   2 4 p t . ,   i n s i g h t s   1 8 p t . ,   f o o t e r s   /   s o u r c e   9 p t . ,   a n d   t e x t   e i t h e r   1 2 p t .   o r   1 4 p t . < / I s s u e C o n t e x t L i n e >  
         < P r o b l e m D e s c r i p t i o n F o r e g r o u n d > # 9 9 9 9 9 9 < / P r o b l e m D e s c r i p t i o n F o r e g r o u n d >  
         < S e l e c t e d R e c o m m e n d e d S t y l e I n d e x > 0 < / S e l e c t e d R e c o m m e n d e d S t y l e I n d e x >  
         < C o d e > & a m p ; # x f 0 a d ; < / C o d e >  
         < m s S l i d e I D > 5 7 2 4 < / 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9 p t < / L e f t P u n c t u a t i o n D e s c r i p t i o n >  
                 < R i g h t P u n c t u a t i o n D e s c r i p t i o n > , < / R i g h t P u n c t u a t i o n D e s c r i p t i o n >  
                 < S l i d e N u m b e r > 1 < / S l i d e N u m b e r >  
                 < S l i d e I n d e x > 2 < / S l i d e I n d e x >  
                 < L i n e N u m b e r > 1 < / L i n e N u m b e r >  
                 < S h a p e I n d e x > 5 < / S h a p e I n d e x >  
                 < S h a p e I n d e x e s / >  
                 < O c c u r i n g I n d e x > 6 < / O c c u r i n g I n d e x >  
                 < T a b l e R o w N u m b e r > 0 < / T a b l e R o w N u m b e r >  
                 < T a b l e C e l l N u m b e r > 0 < / T a b l e C e l l N u m b e r >  
                 < S h a p e I D > 1 6 < / 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6 5 < / 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8 8 2 e 8 0 3 6 - 2 2 0 f - 4 4 0 9 - 9 6 7 a - e a d 3 8 0 2 0 1 c 0 2 < / P r o b l e m N u m b e r >  
         < P r o p e r t y > P u n c t u a t i o n   S p a c i n g < / P r o p e r t y >  
         < P r o b l e m T o o l t i p > T h i s   s p a c i n g   a r o u n d   p u n c t u a t i o n   i s   i n c o n s i s t e n t   w i t h   m o s t   o f   t h e   p r e s e n t a t i o n < / P r o b l e m T o o l t i p >  
         < I s s u e C o n t e x t > w /   K e y < / I s s u e C o n t e x t >  
         < I s s u e C o n t e x t L i n e > T w o   G r a p h s   C o m p a r i s o n :   E x a m p l e   w /   K e y   N o t e s < / I s s u e C o n t e x t L i n e >  
         < P r o b l e m D e s c r i p t i o n F o r e g r o u n d > # 9 9 9 9 9 9 < / P r o b l e m D e s c r i p t i o n F o r e g r o u n d >  
         < S e l e c t e d R e c o m m e n d e d S t y l e I n d e x > 0 < / S e l e c t e d R e c o m m e n d e d S t y l e I n d e x >  
         < C o d e > & a m p ; # x f 0 a d ; < / C o d e >  
         < m s S l i d e I D > 5 7 3 5 < / 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w < / L e f t P u n c t u a t i o n D e s c r i p t i o n >  
                 < R i g h t P u n c t u a t i o n D e s c r i p t i o n > K e y < / R i g h t P u n c t u a t i o n D e s c r i p t i o n >  
                 < S l i d e N u m b e r > 1 2 < / S l i d e N u m b e r >  
                 < S l i d e I n d e x > 1 3 < / S l i d e I n d e x >  
                 < L i n e N u m b e r > 1 < / L i n e N u m b e r >  
                 < S h a p e I n d e x > 2 2 5 < / S h a p e I n d e x >  
                 < S h a p e I n d e x e s / >  
                 < O c c u r i n g I n d e x > 2 < / O c c u r i n g I n d e x >  
                 < T a b l e R o w N u m b e r > 0 < / T a b l e R o w N u m b e r >  
                 < T a b l e C e l l N u m b e r > 0 < / T a b l e C e l l N u m b e r >  
                 < S h a p e I D > 4 < / S h a p e I D >  
                 < R o w I n d e x > 0 < / R o w I n d e x >  
                 < C o l u m n I n d e x > 0 < / C o l u m n I n d e x >  
                 < A p p l i e d I n d e x > 0 < / A p p l i e d I n d e x >  
                 < I s M s o T a b l e > f a l s e < / I s M s o T a b l e >  
                 < I s T r a i l i n g S p a c e > f a l s e < / I s T r a i l i n g S p a c e >  
                 < P u n c t u a t i o n W i t h S p a c e > /   < / P u n c t u a t i o n W i t h S p a c e >  
                 < P u n c t u a t i o n M a r k > / < / P u n c t u a t i o n M a r k >  
                 < P u n c t u a t i o n I n d e x > 3 2 < / 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5 c 5 5 d 4 a 9 - 9 d 5 5 - 4 0 1 9 - 9 d 5 1 - b 7 b 9 4 a 9 6 8 e 9 4 < / P r o b l e m N u m b e r >  
         < P r o p e r t y > P u n c t u a t i o n   S p a c i n g < / P r o p e r t y >  
         < P r o b l e m T o o l t i p > T h i s   s p a c i n g   a r o u n d   p u n c t u a t i o n   i s   i n c o n s i s t e n t   w i t h   m o s t   o f   t h e   p r e s e n t a t i o n < / P r o b l e m T o o l t i p >  
         < I s s u e C o n t e x t > w /   K e y < / I s s u e C o n t e x t >  
         < I s s u e C o n t e x t L i n e > S i z e   C o m p a r i s o n :   E x a m p l e   w /   K e y   N o t e s < / I s s u e C o n t e x t L i n e >  
         < P r o b l e m D e s c r i p t i o n F o r e g r o u n d > # 9 9 9 9 9 9 < / P r o b l e m D e s c r i p t i o n F o r e g r o u n d >  
         < S e l e c t e d R e c o m m e n d e d S t y l e I n d e x > 0 < / S e l e c t e d R e c o m m e n d e d S t y l e I n d e x >  
         < C o d e > & a m p ; # x f 0 a d ; < / C o d e >  
         < m s S l i d e I D > 5 7 3 9 < / 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w < / L e f t P u n c t u a t i o n D e s c r i p t i o n >  
                 < R i g h t P u n c t u a t i o n D e s c r i p t i o n > K e y < / R i g h t P u n c t u a t i o n D e s c r i p t i o n >  
                 < S l i d e N u m b e r > 1 6 < / S l i d e N u m b e r >  
                 < S l i d e I n d e x > 1 7 < / S l i d e I n d e x >  
                 < L i n e N u m b e r > 1 < / L i n e N u m b e r >  
                 < S h a p e I n d e x > 3 0 < / S h a p e I n d e x >  
                 < S h a p e I n d e x e s / >  
                 < O c c u r i n g I n d e x > 2 < / O c c u r i n g I n d e x >  
                 < T a b l e R o w N u m b e r > 0 < / T a b l e R o w N u m b e r >  
                 < T a b l e C e l l N u m b e r > 0 < / T a b l e C e l l N u m b e r >  
                 < S h a p e I D > 2 < / S h a p e I D >  
                 < R o w I n d e x > 0 < / R o w I n d e x >  
                 < C o l u m n I n d e x > 0 < / C o l u m n I n d e x >  
                 < A p p l i e d I n d e x > 0 < / A p p l i e d I n d e x >  
                 < I s M s o T a b l e > f a l s e < / I s M s o T a b l e >  
                 < I s T r a i l i n g S p a c e > f a l s e < / I s T r a i l i n g S p a c e >  
                 < P u n c t u a t i o n W i t h S p a c e > /   < / P u n c t u a t i o n W i t h S p a c e >  
                 < P u n c t u a t i o n M a r k > / < / P u n c t u a t i o n M a r k >  
                 < P u n c t u a t i o n I n d e x > 2 6 < / 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8 0 5 b f b 9 - 9 d 6 0 - 4 5 b 2 - a 3 5 b - 2 e 8 9 2 8 a 5 5 2 e 0 < / P r o b l e m N u m b e r >  
         < P r o p e r t y > P u n c t u a t i o n   S p a c i n g < / P r o p e r t y >  
         < P r o b l e m T o o l t i p > T h i s   s p a c i n g   a r o u n d   p u n c t u a t i o n   i s   i n c o n s i s t e n t   w i t h   m o s t   o f   t h e   p r e s e n t a t i o n < / P r o b l e m T o o l t i p >  
         < I s s u e C o n t e x t > ( 1 / 3 ) < / I s s u e C o n t e x t >  
         < I s s u e C o n t e x t L i n e > C o m p a n y   O v e r v i e w   ( 1 / 3 ) < / I s s u e C o n t e x t L i n e >  
         < P r o b l e m D e s c r i p t i o n F o r e g r o u n d > # 9 9 9 9 9 9 < / P r o b l e m D e s c r i p t i o n F o r e g r o u n d >  
         < S e l e c t e d R e c o m m e n d e d S t y l e I n d e x > 0 < / S e l e c t e d R e c o m m e n d e d S t y l e I n d e x >  
         < C o d e > & a m p ; # x f 0 a d ; < / C o d e >  
         < m s S l i d e I D > 4 9 8 1 < / 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1 < / L e f t P u n c t u a t i o n D e s c r i p t i o n >  
                 < R i g h t P u n c t u a t i o n D e s c r i p t i o n > 3 ) < / R i g h t P u n c t u a t i o n D e s c r i p t i o n >  
                 < S l i d e N u m b e r > 3 4 < / S l i d e N u m b e r >  
                 < S l i d e I n d e x > 3 5 < / S l i d e I n d e x >  
                 < L i n e N u m b e r > 1 < / L i n e N u m b e r >  
                 < S h a p e I n d e x > 3 < / S h a p e I n d e x >  
                 < S h a p e I n d e x e s / >  
                 < O c c u r i n g I n d e x > 1 < / O c c u r i n g I n d e x >  
                 < T a b l e R o w N u m b e r > 0 < / T a b l e R o w N u m b e r >  
                 < T a b l e C e l l N u m b e r > 0 < / T a b l e C e l l N u m b e r >  
                 < S h a p e I D > 2 0 5 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9 < / 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9 3 4 8 c 2 5 - 7 5 f c - 4 8 2 7 - 8 2 b 4 - 6 a 2 1 2 d 8 1 9 4 e 0 < / P r o b l e m N u m b e r >  
         < P r o p e r t y > P u n c t u a t i o n   S p a c i n g < / P r o p e r t y >  
         < P r o b l e m T o o l t i p > T h i s   s p a c i n g   a r o u n d   p u n c t u a t i o n   i s   i n c o n s i s t e n t   w i t h   m o s t   o f   t h e   p r e s e n t a t i o n < / P r o b l e m T o o l t i p >  
         < I s s u e C o n t e x t > ( # / # ) < / I s s u e C o n t e x t >  
         < I s s u e C o n t e x t L i n e > O v e r v i e w   ( # / # ) < / I s s u e C o n t e x t L i n e >  
         < P r o b l e m D e s c r i p t i o n F o r e g r o u n d > # 9 9 9 9 9 9 < / P r o b l e m D e s c r i p t i o n F o r e g r o u n d >  
         < S e l e c t e d R e c o m m e n d e d S t y l e I n d e x > 0 < / S e l e c t e d R e c o m m e n d e d S t y l e I n d e x >  
         < C o d e > & a m p ; # x f 0 a d ; < / C o d e >  
         < m s S l i d e I D > 4 9 8 1 < / m s S l i d e I D >  
         < X M L A l g o r i t h m   t y p e = " P o w e r P o i n t A d d I n . A l g o r i t h m s . C o n t e n t . C o n t e n t P u n c t u a t i o n S p a c i n g ,   A s t u t e P o w e r P o i n t A d d I n ,   V e r s i o n = 1 . 0 . 3 6 . 0 ,   C u l t u r e = n e u t r a l ,   P u b l i c K e y T o k e n = n u l l " >  
             < C o n t e n t P u n c t u a t i o n S p a c i n g >  
                 < F i x I n d e x > 0 < / F i x I n d e x >  
                 < U n d o I n d e x > 0 < / U n d o I n d e x >  
                 < L e f t P u n c t u a t i o n D e s c r i p t i o n > ( # < / L e f t P u n c t u a t i o n D e s c r i p t i o n >  
                 < R i g h t P u n c t u a t i o n D e s c r i p t i o n > # ) < / R i g h t P u n c t u a t i o n D e s c r i p t i o n >  
                 < S l i d e N u m b e r > 3 4 < / S l i d e N u m b e r >  
                 < S l i d e I n d e x > 3 5 < / S l i d e I n d e x >  
                 < L i n e N u m b e r > 1 < / L i n e N u m b e r >  
                 < S h a p e I n d e x > 5 1 < / S h a p e I n d e x >  
                 < S h a p e I n d e x e s / >  
                 < O c c u r i n g I n d e x > 1 < / O c c u r i n g I n d e x >  
                 < T a b l e R o w N u m b e r > 0 < / T a b l e R o w N u m b e r >  
                 < T a b l e C e l l N u m b e r > 0 < / T a b l e C e l l N u m b e r >  
                 < S h a p e I D > 1 2 < / 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1 < / P u n c t u a t i o n I n d e x >  
                 < I s L i n e E n d i n g > f a l s e < / I s L i n e E n d i n g >  
                 < S l i d e C o n t e n t T y p e > C o n t e n t S l i d e < / S l i d e C o n t e n t T y p e > 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6 0 f 4 d 7 3 - 3 0 b 5 - 4 a 5 c - 8 2 6 6 - 0 9 1 0 f f b b c a 4 d < / P r o b l e m N u m b e r >  
         < P r o p e r t y > P u n c t u a t i o n   S p a c i n g < / P r o p e r t y >  
         < P r o b l e m T o o l t i p > T h i s   s p a c i n g   a r o u n d   p u n c t u a t i o n   i s   i n c o n s i s t e n t   w i t h   m o s t   o f   t h e   p r e s e n t a t i o n < / P r o b l e m T o o l t i p >  
         < I s s u e C o n t e x t > ( 1 / 3 ) < / I s s u e C o n t e x t >  
         < I s s u e C o n t e x t L i n e > C o m p a n y   O v e r v i e w   ( 1 / 3 ) < / I s s u e C o n t e x t L i n e >  
         < P r o b l e m D e s c r i p t i o n F o r e g r o u n d > # 9 9 9 9 9 9 < / P r o b l e m D e s c r i p t i o n F o r e g r o u n d >  
         < S e l e c t e d R e c o m m e n d e d S t y l e I n d e x > 0 < / S e l e c t e d R e c o m m e n d e d S t y l e I n d e x >  
         < C o d e > & a m p ; # x f 0 a d ; < / C o d e >  
         < m s S l i d e I D > 4 9 7 6 < / m s S l i d e I D >  
         < X M L A l g o r i t h m   t y p e = " P o w e r P o i n t A d d I n . A l g o r i t h m s . C o n t e n t . C o n t e n t P u n c t u a t i o n S p a c i n g ,   A s t u t e P o w e r P o i n t A d d I n ,   V e r s i o n = 1 . 0 . 3 6 . 0 ,   C u l t u r e = n e u t r a l ,   P u b l i c K e y T o k e n = n u l l " >  
             < C o n t e n t P u n c t u a t i o n S p a c i n g >  
                 < F i x I n d e x > 1 9 < / F i x I n d e x >  
                 < U n d o I n d e x > 1 9 < / U n d o I n d e x >  
                 < L e f t P u n c t u a t i o n D e s c r i p t i o n > ( 1 < / L e f t P u n c t u a t i o n D e s c r i p t i o n >  
                 < R i g h t P u n c t u a t i o n D e s c r i p t i o n > 3 ) < / R i g h t P u n c t u a t i o n D e s c r i p t i o n >  
                 < S l i d e N u m b e r > 3 5 < / S l i d e N u m b e r >  
                 < S l i d e I n d e x > 3 6 < / S l i d e I n d e x >  
                 < L i n e N u m b e r > 1 < / L i n e N u m b e r >  
                 < S h a p e I n d e x > 3 < / S h a p e I n d e x >  
                 < S h a p e I n d e x e s / >  
                 < O c c u r i n g I n d e x > 1 < / O c c u r i n g I n d e x >  
                 < T a b l e R o w N u m b e r > 0 < / T a b l e R o w N u m b e r >  
                 < T a b l e C e l l N u m b e r > 0 < / T a b l e C e l l N u m b e r >  
                 < S h a p e I D > 2 0 5 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9 < / 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0 4 f 7 6 5 c - 4 1 e 8 - 4 5 3 2 - b f a e - d 7 d d b 2 4 b a a e 0 < / P r o b l e m N u m b e r >  
         < P r o p e r t y > P u n c t u a t i o n   S p a c i n g < / P r o p e r t y >  
         < P r o b l e m T o o l t i p > T h i s   s p a c i n g   a r o u n d   p u n c t u a t i o n   i s   i n c o n s i s t e n t   w i t h   m o s t   o f   t h e   p r e s e n t a t i o n < / P r o b l e m T o o l t i p >  
         < I s s u e C o n t e x t > ( # / # ) < / I s s u e C o n t e x t >  
         < I s s u e C o n t e x t L i n e > O v e r v i e w   ( # / # ) < / I s s u e C o n t e x t L i n e >  
         < P r o b l e m D e s c r i p t i o n F o r e g r o u n d > # 9 9 9 9 9 9 < / P r o b l e m D e s c r i p t i o n F o r e g r o u n d >  
         < S e l e c t e d R e c o m m e n d e d S t y l e I n d e x > 0 < / S e l e c t e d R e c o m m e n d e d S t y l e I n d e x >  
         < C o d e > & a m p ; # x f 0 a d ; < / C o d e >  
         < m s S l i d e I D > 4 9 7 6 < / m s S l i d e I D >  
         < X M L A l g o r i t h m   t y p e = " P o w e r P o i n t A d d I n . A l g o r i t h m s . C o n t e n t . C o n t e n t P u n c t u a t i o n S p a c i n g ,   A s t u t e P o w e r P o i n t A d d I n ,   V e r s i o n = 1 . 0 . 3 6 . 0 ,   C u l t u r e = n e u t r a l ,   P u b l i c K e y T o k e n = n u l l " >  
             < C o n t e n t P u n c t u a t i o n S p a c i n g >  
                 < F i x I n d e x > 1 1 < / F i x I n d e x >  
                 < U n d o I n d e x > 1 1 < / U n d o I n d e x >  
                 < L e f t P u n c t u a t i o n D e s c r i p t i o n > ( # < / L e f t P u n c t u a t i o n D e s c r i p t i o n >  
                 < R i g h t P u n c t u a t i o n D e s c r i p t i o n > # ) < / R i g h t P u n c t u a t i o n D e s c r i p t i o n >  
                 < S l i d e N u m b e r > 3 5 < / S l i d e N u m b e r >  
                 < S l i d e I n d e x > 3 6 < / S l i d e I n d e x >  
                 < L i n e N u m b e r > 1 < / L i n e N u m b e r >  
                 < S h a p e I n d e x > 5 8 < / S h a p e I n d e x >  
                 < S h a p e I n d e x e s / >  
                 < O c c u r i n g I n d e x > 1 < / O c c u r i n g I n d e x >  
                 < T a b l e R o w N u m b e r > 0 < / T a b l e R o w N u m b e r >  
                 < T a b l e C e l l N u m b e r > 0 < / T a b l e C e l l N u m b e r >  
                 < S h a p e I D > 1 3 < / 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1 1 < / 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9 8 9 0 a 0 6 - f 8 2 e - 4 f 6 a - b c 9 d - d 4 3 3 8 9 4 f 8 c d 9 < / P r o b l e m N u m b e r >  
         < P r o p e r t y > P u n c t u a t i o n   S p a c i n g < / P r o p e r t y >  
         < P r o b l e m T o o l t i p > T h i s   s p a c i n g   a r o u n d   p u n c t u a t i o n   i s   i n c o n s i s t e n t   w i t h   m o s t   o f   t h e   p r e s e n t a t i o n < / P r o b l e m T o o l t i p >  
         < I s s u e C o n t e x t > U S A , - < / I s s u e C o n t e x t >  
         < I s s u e C o n t e x t L i n e > S c e n   5      N o r t h w e s t ,   P a l l e t   U S A , -   A s p e n ,   M i l l w o o d < / I s s u e C o n t e x t L i n e >  
         < P r o b l e m D e s c r i p t i o n F o r e g r o u n d > # 9 9 9 9 9 9 < / P r o b l e m D e s c r i p t i o n F o r e g r o u n d >  
         < S e l e c t e d R e c o m m e n d e d S t y l e I n d e x > 0 < / S e l e c t e d R e c o m m e n d e d S t y l e I n d e x >  
         < C o d e > & a m p ; # x f 0 a d ; < / C o d e >  
         < m s S l i d e I D > 5 6 9 9 < / m s S l i d e I D >  
         < X M L A l g o r i t h m   t y p e = " P o w e r P o i n t A d d I n . A l g o r i t h m s . C o n t e n t . C o n t e n t P u n c t u a t i o n S p a c i n g ,   A s t u t e P o w e r P o i n t A d d I n ,   V e r s i o n = 1 . 0 . 3 6 . 0 ,   C u l t u r e = n e u t r a l ,   P u b l i c K e y T o k e n = n u l l " >  
             < C o n t e n t P u n c t u a t i o n S p a c i n g >  
                 < F i x I n d e x > 3 0 < / F i x I n d e x >  
                 < U n d o I n d e x > 3 0 < / U n d o I n d e x >  
                 < L e f t P u n c t u a t i o n D e s c r i p t i o n > U S A < / L e f t P u n c t u a t i o n D e s c r i p t i o n >  
                 < R i g h t P u n c t u a t i o n D e s c r i p t i o n > - < / R i g h t P u n c t u a t i o n D e s c r i p t i o n >  
                 < S l i d e N u m b e r > 4 8 < / S l i d e N u m b e r >  
                 < S l i d e I n d e x > 4 9 < / S l i d e I n d e x >  
                 < L i n e N u m b e r > 1 < / L i n e N u m b e r >  
                 < S h a p e I n d e x > 4 8 < / S h a p e I n d e x >  
                 < S h a p e I n d e x e s / >  
                 < O c c u r i n g I n d e x > 2 < / O c c u r i n g I n d e x >  
                 < T a b l e R o w N u m b e r > 0 < / T a b l e R o w N u m b e r >  
                 < T a b l e C e l l N u m b e r > 0 < / T a b l e C e l l N u m b e r >  
                 < S h a p e I D > 1 7 5 < / 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3 0 < / P u n c t u a t i o n I n d e x >  
                 < I s L i n e E n d i n g > f a l s e < / I s L i n e E n d i n g >  
                 < A p p l i e d S t y l e >  
                     < I s M i x e d S t y l e > f a l s e < / I s M i x e d S t y l e >  
                     < D e s c r i p t i o n S h o w B l a c k 1 > U S A < / D e s c r i p t i o n S h o w B l a c k 1 >  
                     < D e s c r i p t i o n S h o w R e d 1 / >  
                     < D e s c r i p t i o n S h o w B l a c k 2 > , < / D e s c r i p t i o n S h o w B l a c k 2 >  
                     < D e s c r i p t i o n S h o w R e d 2 > �< / D e s c r i p t i o n S h o w R e d 2 >  
                     < D e s c r i p t i o n S h o w B l a c k 3 > - < / D e s c r i p t i o n S h o w B l a c k 3 >  
                     < C o l u m n 4 W i d t h > 6 5 < / C o l u m n 4 W i d t h >  
                     < F r e q u e n c y > 2 7 < / 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e d d f 2 7 e - 7 9 4 6 - 4 8 a 7 - 9 7 f b - 8 3 e c 9 5 f 4 4 3 7 b < / P r o b l e m N u m b e r >  
         < P r o p e r t y > P u n c t u a t i o n   S p a c i n g < / P r o p e r t y >  
         < P r o b l e m T o o l t i p > T h i s   s p a c i n g   a r o u n d   p u n c t u a t i o n   i s   i n c o n s i s t e n t   w i t h   m o s t   o f   t h e   p r e s e n t a t i o n < / P r o b l e m T o o l t i p >  
         < I s s u e C o n t e x t > U p d a t e / D e t a i l s < / I s s u e C o n t e x t >  
         < I s s u e C o n t e x t L i n e > U p d a t e / D e t a i l s < / I s s u e C o n t e x t L i n e >  
         < P r o b l e m D e s c r i p t i o n F o r e g r o u n d > # 9 9 9 9 9 9 < / P r o b l e m D e s c r i p t i o n F o r e g r o u n d >  
         < S e l e c t e d R e c o m m e n d e d S t y l e I n d e x > 0 < / S e l e c t e d R e c o m m e n d e d S t y l e I n d e x >  
         < C o d e > & a m p ; # x f 0 a d ; < / C o d e >  
         < m s S l i d e I D > 5 6 9 9 < / m s S l i d e I D >  
         < X M L A l g o r i t h m   t y p e = " P o w e r P o i n t A d d I n . A l g o r i t h m s . C o n t e n t . C o n t e n t P u n c t u a t i o n S p a c i n g ,   A s t u t e P o w e r P o i n t A d d I n ,   V e r s i o n = 1 . 0 . 3 6 . 0 ,   C u l t u r e = n e u t r a l ,   P u b l i c K e y T o k e n = n u l l " >  
             < C o n t e n t P u n c t u a t i o n S p a c i n g >  
                 < F i x I n d e x > 6 < / F i x I n d e x >  
                 < U n d o I n d e x > 6 < / U n d o I n d e x >  
                 < L e f t P u n c t u a t i o n D e s c r i p t i o n > U p d a t e < / L e f t P u n c t u a t i o n D e s c r i p t i o n >  
                 < R i g h t P u n c t u a t i o n D e s c r i p t i o n > D e t a i l s < / R i g h t P u n c t u a t i o n D e s c r i p t i o n >  
                 < S l i d e N u m b e r > 4 8 < / S l i d e N u m b e r >  
                 < S l i d e I n d e x > 4 9 < / S l i d e I n d e x >  
                 < L i n e N u m b e r > 1 < / L i n e N u m b e r >  
                 < S h a p e I n d e x > 7 1 < / S h a p e I n d e x >  
                 < S h a p e I n d e x e s / >  
                 < O c c u r i n g I n d e x > 1 < / O c c u r i n g I n d e x >  
                 < T a b l e R o w N u m b e r > 1 < / T a b l e R o w N u m b e r >  
                 < T a b l e C e l l N u m b e r > 2 < / T a b l e C e l l N u m b e r >  
                 < S h a p e I D > 8 9 < / 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6 < / 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0 3 1 3 9 0 7 - d c 9 9 - 4 a e 8 - a e d e - f 9 1 a 6 0 1 4 8 0 7 3 < / 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1 < / L e f t P u n c t u a t i o n D e s c r i p t i o n >  
                 < R i g h t P u n c t u a t i o n D e s c r i p t i o n > 5 8 : 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3 < / 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6 4 2 2 d 8 c - e 6 9 1 - 4 e 2 e - 8 a 4 0 - 9 5 6 7 4 a 7 3 6 8 a 0 < / 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4 < / F i x I n d e x >  
                 < U n d o I n d e x > 4 < / U n d o I n d e x >  
                 < L e f t P u n c t u a t i o n D e s c r i p t i o n > 1 : 5 8 < / 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3 < / 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2 c 9 a a e a - 0 7 f f - 4 4 6 8 - a 5 5 5 - 8 2 e 6 1 e 1 c e 1 6 1 < / 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0 < / L e f t P u n c t u a t i o n D e s c r i p t i o n >  
                 < R i g h t P u n c t u a t i o n D e s c r i p t i o n > 0 0 : 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5 < / 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a e c 1 8 a f 0 - 6 1 1 2 - 4 6 2 9 - 9 2 a 8 - 0 6 b c c d f e b 9 e f < / 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4 < / F i x I n d e x >  
                 < U n d o I n d e x > 4 < / U n d o I n d e x >  
                 < L e f t P u n c t u a t i o n D e s c r i p t i o n > 0 : 0 0 < / 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5 < / 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c a f b 2 d b 1 - b c f d - 4 5 0 c - a 7 c 0 - 2 4 8 d 2 2 0 a 4 8 c 6 < / 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0 < / L e f t P u n c t u a t i o n D e s c r i p t i o n >  
                 < R i g h t P u n c t u a t i o n D e s c r i p t i o n > 0 0 : 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7 < / 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2 8 2 9 2 1 0 0 - b d 5 1 - 4 6 8 d - b 6 4 8 - b 0 6 2 9 7 8 8 d 7 7 9 < / P r o b l e m N u m b e r >  
         < P r o p e r t y > P u n c t u a t i o n   S p a c i n g < / P r o p e r t y >  
         < P r o b l e m T o o l t i p > T h i s   s p a c i n g   a r o u n d   p u n c t u a t i o n   i s   i n c o n s i s t e n t   w i t h   m o s t   o f   t h e   p r e s e n t a t i o n < / P r o b l e m T o o l t i p >  
         < I s s u e C o n t e x t > 0 : 0 0 : 0 0 < / I s s u e C o n t e x t >  
         < I s s u e C o n t e x t L i n e > 0 : 0 0 : 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4 < / F i x I n d e x >  
                 < U n d o I n d e x > 4 < / U n d o I n d e x >  
                 < L e f t P u n c t u a t i o n D e s c r i p t i o n > 0 : 0 0 < / 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7 < / 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b 6 a e 0 4 a - 2 2 3 d - 4 c 9 d - a 0 e 9 - b d 9 a b d a f 6 b 5 7 < / P r o b l e m N u m b e r >  
         < P r o p e r t y > P u n c t u a t i o n   S p a c i n g < / P r o p e r t y >  
         < P r o b l e m T o o l t i p > T h i s   s p a c i n g   a r o u n d   p u n c t u a t i o n   i s   i n c o n s i s t e n t   w i t h   m o s t   o f   t h e   p r e s e n t a t i o n < / P r o b l e m T o o l t i p >  
         < I s s u e C o n t e x t > 1 : 1 6 : 0 0 < / I s s u e C o n t e x t >  
         < I s s u e C o n t e x t L i n e > 1 : 1 6 : 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1 < / L e f t P u n c t u a t i o n D e s c r i p t i o n >  
                 < R i g h t P u n c t u a t i o n D e s c r i p t i o n > 1 6 : 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9 < / 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6 4 6 3 a 7 7 - f 0 0 9 - 4 5 a f - 9 8 d 7 - f 4 3 a 8 4 4 8 3 1 f 2 < / P r o b l e m N u m b e r >  
         < P r o p e r t y > P u n c t u a t i o n   S p a c i n g < / P r o p e r t y >  
         < P r o b l e m T o o l t i p > T h i s   s p a c i n g   a r o u n d   p u n c t u a t i o n   i s   i n c o n s i s t e n t   w i t h   m o s t   o f   t h e   p r e s e n t a t i o n < / P r o b l e m T o o l t i p >  
         < I s s u e C o n t e x t > 1 : 1 6 : 0 0 < / I s s u e C o n t e x t >  
         < I s s u e C o n t e x t L i n e > 1 : 1 6 : 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4 < / F i x I n d e x >  
                 < U n d o I n d e x > 4 < / U n d o I n d e x >  
                 < L e f t P u n c t u a t i o n D e s c r i p t i o n > 1 : 1 6 < / 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9 < / 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3 b c 9 3 6 5 5 - 3 5 a 6 - 4 c f f - a f c 7 - 6 7 d f a 1 a b e a e 8 < / 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1 < / L e f t P u n c t u a t i o n D e s c r i p t i o n >  
                 < R i g h t P u n c t u a t i o n D e s c r i p t i o n > 5 8 : 0 0 < / R i g h t P u n c t u a t i o n D e s c r i p t i o n >  
                 < S l i d e N u m b e r > 5 4 < / S l i d e N u m b e r >  
                 < S l i d e I n d e x > 5 5 < / S l i d e I n d e x >  
                 < L i n e N u m b e r > 1 < / L i n e N u m b e r >  
                 < S h a p e I n d e x > 3 < / S h a p e I n d e x >  
                 < S h a p e I n d e x e s / >  
                 < O c c u r i n g I n d e x > 1 < / O c c u r i n g I n d e x >  
                 < T a b l e R o w N u m b e r > 5 < / T a b l e R o w N u m b e r >  
                 < T a b l e C e l l N u m b e r > 1 1 < / 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1 < / 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3 b d 2 3 f 5 - f b 3 d - 4 3 7 5 - b a 4 b - a 3 4 6 0 a 2 1 e 1 4 f < / P r o b l e m N u m b e r >  
         < P r o p e r t y > P u n c t u a t i o n   S p a c i n g < / P r o p e r t y >  
         < P r o b l e m T o o l t i p > T h i s   s p a c i n g   a r o u n d   p u n c t u a t i o n   i s   i n c o n s i s t e n t   w i t h   m o s t   o f   t h e   p r e s e n t a t i o n < / P r o b l e m T o o l t i p >  
         < I s s u e C o n t e x t > 1 : 5 8 : 0 0 < / I s s u e C o n t e x t >  
         < I s s u e C o n t e x t L i n e > 1 : 5 8 : 0 0 < / I s s u e C o n t e x t L i n e >  
         < P r o b l e m D e s c r i p t i o n F o r e g r o u n d > # 9 9 9 9 9 9 < / P r o b l e m D e s c r i p t i o n F o r e g r o u n d >  
         < S e l e c t e d R e c o m m e n d e d S t y l e I n d e x > 0 < / S e l e c t e d R e c o m m e n d e d S t y l e I n d e x >  
         < C o d e > & a m p ; # x f 0 a d ; < / C o d e >  
         < m s S l i d e I D > 5 7 0 5 < / m s S l i d e I D >  
         < X M L A l g o r i t h m   t y p e = " P o w e r P o i n t A d d I n . A l g o r i t h m s . C o n t e n t . C o n t e n t P u n c t u a t i o n S p a c i n g ,   A s t u t e P o w e r P o i n t A d d I n ,   V e r s i o n = 1 . 0 . 3 6 . 0 ,   C u l t u r e = n e u t r a l ,   P u b l i c K e y T o k e n = n u l l " >  
             < C o n t e n t P u n c t u a t i o n S p a c i n g >  
                 < F i x I n d e x > 4 < / F i x I n d e x >  
                 < U n d o I n d e x > 4 < / U n d o I n d e x >  
                 < L e f t P u n c t u a t i o n D e s c r i p t i o n > 1 : 5 8 < / L e f t P u n c t u a t i o n D e s c r i p t i o n >  
                 < R i g h t P u n c t u a t i o n D e s c r i p t i o n > 0 0 < / R i g h t P u n c t u a t i o n D e s c r i p t i o n >  
                 < S l i d e N u m b e r > 5 4 < / S l i d e N u m b e r >  
                 < S l i d e I n d e x > 5 5 < / S l i d e I n d e x >  
                 < L i n e N u m b e r > 1 < / L i n e N u m b e r >  
                 < S h a p e I n d e x > 3 < / S h a p e I n d e x >  
                 < S h a p e I n d e x e s / >  
                 < O c c u r i n g I n d e x > 2 < / O c c u r i n g I n d e x >  
                 < T a b l e R o w N u m b e r > 5 < / T a b l e R o w N u m b e r >  
                 < T a b l e C e l l N u m b e r > 1 1 < / T a b l e C e l l N u m b e r >  
                 < S h a p e I D > 1 2 < / S h a p e I D >  
                 < R o w I n d e x > 0 < / R o w I n d e x >  
                 < C o l u m n I n d e x > 0 < / C o l u m n I n d e x >  
                 < A p p l i e d I n d e x > 0 < / A p p l i e d I n d e x >  
                 < I s M s o T a b l e > t r u e < / I s M s o T a b l e >  
                 < I s T r a i l i n g S p a c e > f a l s e < / I s T r a i l i n g S p a c e >  
                 < P u n c t u a t i o n W i t h S p a c e > : < / P u n c t u a t i o n W i t h S p a c e >  
                 < P u n c t u a t i o n M a r k > : < / P u n c t u a t i o n M a r k >  
                 < P u n c t u a t i o n I n d e x > 4 < / P u n c t u a t i o n I n d e x >  
                 < I s L i n e E n d i n g > f a l s e < / I s L i n e E n d i n g >  
                 < A p p l i e d S t y l e >  
                     < I s M i x e d S t y l e > f a l s e < / I s M i x e d S t y l e >  
                     < D e s c r i p t i o n S h o w B l a c k 1 > 1 : 5 8 < / D e s c r i p t i o n S h o w B l a c k 1 >  
                     < D e s c r i p t i o n S h o w R e d 1 / >  
                     < D e s c r i p t i o n S h o w B l a c k 2 > : < / D e s c r i p t i o n S h o w B l a c k 2 >  
                     < D e s c r i p t i o n S h o w R e d 2 > �< / D e s c r i p t i o n S h o w R e d 2 >  
                     < D e s c r i p t i o n S h o w B l a c k 3 > 0 0 < / D e s c r i p t i o n S h o w B l a c k 3 >  
                     < C o l u m n 4 W i d t h > 6 5 < / C o l u m n 4 W i d t h >  
                     < F r e q u e n c y > 1 2 3 < / 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4 b d 0 1 1 8 4 - f 3 c 0 - 4 1 1 5 - 9 8 a 8 - e 9 1 3 9 9 4 c 6 9 c 9 < / P r o b l e m N u m b e r >  
         < P r o p e r t y > P u n c t u a t i o n   S p a c i n g < / P r o p e r t y >  
         < P r o b l e m T o o l t i p > T h i s   s p a c i n g   a r o u n d   p u n c t u a t i o n   i s   i n c o n s i s t e n t   w i t h   m o s t   o f   t h e   p r e s e n t a t i o n < / P r o b l e m T o o l t i p >  
         < I s s u e C o n t e x t > ( 1 / 6 ) < / I s s u e C o n t e x t >  
         < I s s u e C o n t e x t L i n e > V A S   T o p   O p p o r t u n i t i e s :   B y   T i m e l i n e   & a m p ;   C r i t i c a l i t y   ( 1 / 6 ) < / I s s u e C o n t e x t L i n e >  
         < P r o b l e m D e s c r i p t i o n F o r e g r o u n d > # 9 9 9 9 9 9 < / P r o b l e m D e s c r i p t i o n F o r e g r o u n d >  
         < S e l e c t e d R e c o m m e n d e d S t y l e I n d e x > 0 < / S e l e c t e d R e c o m m e n d e d S t y l e I n d e x >  
         < C o d e > & a m p ; # x f 0 a d ; < / C o d e >  
         < m s S l i d e I D > 5 1 6 8 < / m s S l i d e I D >  
         < X M L A l g o r i t h m   t y p e = " P o w e r P o i n t A d d I n . A l g o r i t h m s . C o n t e n t . C o n t e n t P u n c t u a t i o n S p a c i n g ,   A s t u t e P o w e r P o i n t A d d I n ,   V e r s i o n = 1 . 0 . 3 6 . 0 ,   C u l t u r e = n e u t r a l ,   P u b l i c K e y T o k e n = n u l l " >  
             < C o n t e n t P u n c t u a t i o n S p a c i n g >  
                 < F i x I n d e x > 5 1 < / F i x I n d e x >  
                 < U n d o I n d e x > 5 1 < / U n d o I n d e x >  
                 < L e f t P u n c t u a t i o n D e s c r i p t i o n > ( 1 < / L e f t P u n c t u a t i o n D e s c r i p t i o n >  
                 < R i g h t P u n c t u a t i o n D e s c r i p t i o n > 6 ) < / R i g h t P u n c t u a t i o n D e s c r i p t i o n >  
                 < S l i d e N u m b e r > 5 8 < / S l i d e N u m b e r >  
                 < S l i d e I n d e x > 5 9 < / S l i d e I n d e x >  
                 < L i n e N u m b e r > 1 < / L i n e N u m b e r >  
                 < S h a p e I n d e x > 9 < / S h a p e I n d e x >  
                 < S h a p e I n d e x e s / >  
                 < O c c u r i n g I n d e x > 2 < / O c c u r i n g I n d e x >  
                 < T a b l e R o w N u m b e r > 0 < / T a b l e R o w N u m b e r >  
                 < T a b l e C e l l N u m b e r > 0 < / T a b l e C e l l N u m b e r >  
                 < S h a p e I D > 7 < / 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5 1 < / 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6 8 9 6 0 1 a - 3 9 b 2 - 4 8 6 c - b 1 3 3 - 0 9 5 6 f e 7 e e 3 1 8 < / P r o b l e m N u m b e r >  
         < P r o p e r t y > P u n c t u a t i o n   S p a c i n g < / P r o p e r t y >  
         < P r o b l e m T o o l t i p > T h i s   s p a c i n g   a r o u n d   p u n c t u a t i o n   i s   i n c o n s i s t e n t   w i t h   m o s t   o f   t h e   p r e s e n t a t i o n < / P r o b l e m T o o l t i p >  
         < I s s u e C o n t e x t > 1 . 	 T e x t < / I s s u e C o n t e x t >  
         < I s s u e C o n t e x t L i n e > 1 . 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1 < / 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2 < / 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d a 8 3 c a 0 3 - 2 c f c - 4 0 3 c - 8 b b 7 - c e 6 5 6 9 1 d d c f 9 < / P r o b l e m N u m b e r >  
         < P r o p e r t y > P u n c t u a t i o n   S p a c i n g < / P r o p e r t y >  
         < P r o b l e m T o o l t i p > T h i s   s p a c i n g   a r o u n d   p u n c t u a t i o n   i s   i n c o n s i s t e n t   w i t h   m o s t   o f   t h e   p r e s e n t a t i o n < / P r o b l e m T o o l t i p >  
         < I s s u e C o n t e x t > 2 . 	 T e x t < / I s s u e C o n t e x t >  
         < I s s u e C o n t e x t L i n e > 2 . 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2 < / 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3 < / 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e 7 5 9 d 7 4 4 - 4 f 3 1 - 4 c b f - b 3 4 b - 1 9 0 7 8 5 4 1 e 8 5 f < / P r o b l e m N u m b e r >  
         < P r o p e r t y > P u n c t u a t i o n   S p a c i n g < / P r o p e r t y >  
         < P r o b l e m T o o l t i p > T h i s   s p a c i n g   a r o u n d   p u n c t u a t i o n   i s   i n c o n s i s t e n t   w i t h   m o s t   o f   t h e   p r e s e n t a t i o n < / P r o b l e m T o o l t i p >  
         < I s s u e C o n t e x t > 3 . 	 T e x t < / I s s u e C o n t e x t >  
         < I s s u e C o n t e x t L i n e > 3 . 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3 < / 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4 < / 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b e f 0 5 7 8 - 6 2 4 2 - 4 c 4 0 - 8 6 8 1 - 1 a c 2 5 b 0 0 5 3 3 e < / P r o b l e m N u m b e r >  
         < P r o p e r t y > P u n c t u a t i o n   S p a c i n g < / P r o p e r t y >  
         < P r o b l e m T o o l t i p > T h i s   s p a c i n g   a r o u n d   p u n c t u a t i o n   i s   i n c o n s i s t e n t   w i t h   m o s t   o f   t h e   p r e s e n t a t i o n < / P r o b l e m T o o l t i p >  
         < I s s u e C o n t e x t > 4 . 	 T e x t < / I s s u e C o n t e x t >  
         < I s s u e C o n t e x t L i n e > 4 . 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4 < / 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5 < / 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0 b 4 9 6 8 7 6 - 5 4 4 2 - 4 1 b f - b 2 d 0 - c 2 b c 8 6 4 c 7 4 9 8 < / P r o b l e m N u m b e r >  
         < P r o p e r t y > P u n c t u a t i o n   S p a c i n g < / P r o p e r t y >  
         < P r o b l e m T o o l t i p > T h i s   s p a c i n g   a r o u n d   p u n c t u a t i o n   i s   i n c o n s i s t e n t   w i t h   m o s t   o f   t h e   p r e s e n t a t i o n < / P r o b l e m T o o l t i p >  
         < I s s u e C o n t e x t > 5 . 	 T e x t < / I s s u e C o n t e x t >  
         < I s s u e C o n t e x t L i n e > 5 . 	 T e x t < / I s s u e C o n t e x t L i n e >  
         < P r o b l e m D e s c r i p t i o n F o r e g r o u n d > # 9 9 9 9 9 9 < / P r o b l e m D e s c r i p t i o n F o r e g r o u n d >  
         < S e l e c t e d R e c o m m e n d e d S t y l e I n d e x > 0 < / S e l e c t e d R e c o m m e n d e d S t y l e I n d e x >  
         < C o d e > & a m p ; # x f 0 a d ; < / C o d e >  
         < m s S l i d e I D > 5 7 1 4 < / m s S l i d e I D >  
         < X M L A l g o r i t h m   t y p e = " P o w e r P o i n t A d d I n . A l g o r i t h m s . C o n t e n t . C o n t e n t P u n c t u a t i o n S p a c i n g ,   A s t u t e P o w e r P o i n t A d d I n ,   V e r s i o n = 1 . 0 . 3 6 . 0 ,   C u l t u r e = n e u t r a l ,   P u b l i c K e y T o k e n = n u l l " >  
             < C o n t e n t P u n c t u a t i o n S p a c i n g >  
                 < F i x I n d e x > 1 < / F i x I n d e x >  
                 < U n d o I n d e x > 1 < / U n d o I n d e x >  
                 < L e f t P u n c t u a t i o n D e s c r i p t i o n > 5 < / L e f t P u n c t u a t i o n D e s c r i p t i o n >  
                 < R i g h t P u n c t u a t i o n D e s c r i p t i o n > T e x t < / R i g h t P u n c t u a t i o n D e s c r i p t i o n >  
                 < S l i d e N u m b e r > 6 5 < / S l i d e N u m b e r >  
                 < S l i d e I n d e x > 6 6 < / S l i d e I n d e x >  
                 < L i n e N u m b e r > 1 < / L i n e N u m b e r >  
                 < S h a p e I n d e x > 5 < / S h a p e I n d e x >  
                 < S h a p e I n d e x e s / >  
                 < O c c u r i n g I n d e x > 1 < / O c c u r i n g I n d e x >  
                 < T a b l e R o w N u m b e r > 6 < / T a b l e R o w N u m b e r >  
                 < T a b l e C e l l N u m b e r > 1 < / T a b l e C e l l N u m b e r >  
                 < S h a p e I D > 5 < / S h a p e I D >  
                 < R o w I n d e x > 0 < / R o w I n d e x >  
                 < C o l u m n I n d e x > 0 < / C o l u m n I n d e x >  
                 < A p p l i e d I n d e x > 0 < / A p p l i e d I n d e x >  
                 < I s M s o T a b l e > t r u e < / I s M s o T a b l e >  
                 < I s T r a i l i n g S p a c e > f a l s e < / I s T r a i l i n g S p a c e >  
                 < P u n c t u a t i o n W i t h S p a c e > . 	 < / P u n c t u a t i o n W i t h S p a c e >  
                 < P u n c t u a t i o n M a r k > . < / P u n c t u a t i o n M a r k >  
                 < P u n c t u a t i o n I n d e x > 1 < / 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1 1 a 9 b 2 e 3 - 4 d 7 6 - 4 6 8 8 - b b 2 0 - a 1 1 4 c 3 5 5 0 9 b e < / 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6 . 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5 < / S h a p e I n d e x >  
                 < S h a p e I n d e x e s / >  
                 < O c c u r i n g I n d e x > 1 < / O c c u r i n g I n d e x >  
                 < T a b l e R o w N u m b e r > 0 < / T a b l e R o w N u m b e r >  
                 < T a b l e C e l l N u m b e r > 0 < / T a b l e C e l l N u m b e r >  
                 < S h a p e I D > 5 < / 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f 9 2 a 1 3 c 5 - b b c f - 4 3 8 4 - a b 4 7 - 5 1 5 3 c 9 7 1 1 e 8 a < / 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6 . 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1 < / S h a p e I n d e x >  
                 < S h a p e I n d e x e s / >  
                 < O c c u r i n g I n d e x > 1 < / O c c u r i n g I n d e x >  
                 < T a b l e R o w N u m b e r > 0 < / T a b l e R o w N u m b e r >  
                 < T a b l e C e l l N u m b e r > 0 < / T a b l e C e l l N u m b e r >  
                 < S h a p e I D > 1 1 < / 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6 f 4 e f 4 7 e - 7 4 1 7 - 4 f 3 2 - 9 3 f a - 2 9 9 8 d 1 e c 8 c f 7 < / 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6 . 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2 < / S h a p e I n d e x >  
                 < S h a p e I n d e x e s / >  
                 < O c c u r i n g I n d e x > 1 < / O c c u r i n g I n d e x >  
                 < T a b l e R o w N u m b e r > 0 < / T a b l e R o w N u m b e r >  
                 < T a b l e C e l l N u m b e r > 0 < / T a b l e C e l l N u m b e r >  
                 < S h a p e I D > 1 2 < / 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b a b d 1 6 a 0 - 9 d a c - 4 d 3 b - a c 4 1 - c 2 4 5 a 9 0 e 2 9 2 2 < / 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6 . 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3 < / S h a p e I n d e x >  
                 < S h a p e I n d e x e s / >  
                 < O c c u r i n g I n d e x > 1 < / O c c u r i n g I n d e x >  
                 < T a b l e R o w N u m b e r > 0 < / T a b l e R o w N u m b e r >  
                 < T a b l e C e l l N u m b e r > 0 < / T a b l e C e l l N u m b e r >  
                 < S h a p e I D > 1 3 < / 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7 c a 8 3 2 f 1 - e a 9 c - 4 8 0 a - a 9 d a - 6 c 4 6 e d 5 9 b a 1 9 < / P r o b l e m N u m b e r >  
         < P r o p e r t y > P u n c t u a t i o n   S p a c i n g < / P r o p e r t y >  
         < P r o b l e m T o o l t i p > T h i s   s p a c i n g   a r o u n d   p u n c t u a t i o n   i s   i n c o n s i s t e n t   w i t h   m o s t   o f   t h e   p r e s e n t a t i o n < / P r o b l e m T o o l t i p >  
         < I s s u e C o n t e x t > 0 0 / 0 0 < / I s s u e C o n t e x t >  
         < I s s u e C o n t e x t L i n e > 0 0 / 0 0 < / I s s u e C o n t e x t L i n e >  
         < P r o b l e m D e s c r i p t i o n F o r e g r o u n d > # 9 9 9 9 9 9 < / P r o b l e m D e s c r i p t i o n F o r e g r o u n d >  
         < S e l e c t e d R e c o m m e n d e d S t y l e I n d e x > 0 < / S e l e c t e d R e c o m m e n d e d S t y l e I n d e x >  
         < C o d e > & a m p ; # x f 0 a d ; < / C o d e >  
         < m s S l i d e I D > 5 7 2 2 < / m s S l i d e I D >  
         < X M L A l g o r i t h m   t y p e = " P o w e r P o i n t A d d I n . A l g o r i t h m s . C o n t e n t . C o n t e n t P u n c t u a t i o n S p a c i n g ,   A s t u t e P o w e r P o i n t A d d I n ,   V e r s i o n = 1 . 0 . 3 6 . 0 ,   C u l t u r e = n e u t r a l ,   P u b l i c K e y T o k e n = n u l l " >  
             < C o n t e n t P u n c t u a t i o n S p a c i n g >  
                 < F i x I n d e x > 2 < / F i x I n d e x >  
                 < U n d o I n d e x > 2 < / U n d o I n d e x >  
                 < L e f t P u n c t u a t i o n D e s c r i p t i o n > 0 0 < / L e f t P u n c t u a t i o n D e s c r i p t i o n >  
                 < R i g h t P u n c t u a t i o n D e s c r i p t i o n > 0 0 < / R i g h t P u n c t u a t i o n D e s c r i p t i o n >  
                 < S l i d e N u m b e r > 6 6 < / S l i d e N u m b e r >  
                 < S l i d e I n d e x > 6 7 < / S l i d e I n d e x >  
                 < L i n e N u m b e r > 1 < / L i n e N u m b e r >  
                 < S h a p e I n d e x > 1 4 < / S h a p e I n d e x >  
                 < S h a p e I n d e x e s / >  
                 < O c c u r i n g I n d e x > 1 < / O c c u r i n g I n d e x >  
                 < T a b l e R o w N u m b e r > 0 < / T a b l e R o w N u m b e r >  
                 < T a b l e C e l l N u m b e r > 0 < / T a b l e C e l l N u m b e r >  
                 < S h a p e I D > 1 4 < / 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P u n c t u a t i o n I n d e x >  
                 < I s L i n e E n d i n g > f a l s e < / I s L i n e E n d i n g >  
                 < A p p l i e d S t y l e >  
                     < I s M i x e d S t y l e > f a l s e < / I s M i x e d S t y l e >  
                     < D e s c r i p t i o n S h o w B l a c k 1 > 0 0 < / D e s c r i p t i o n S h o w B l a c k 1 >  
                     < D e s c r i p t i o n S h o w R e d 1 > �< / D e s c r i p t i o n S h o w R e d 1 >  
                     < D e s c r i p t i o n S h o w B l a c k 2 > / < / D e s c r i p t i o n S h o w B l a c k 2 >  
                     < D e s c r i p t i o n S h o w R e d 2 > �< / D e s c r i p t i o n S h o w R e d 2 >  
                     < D e s c r i p t i o n S h o w B l a c k 3 > 0 0 < / D e s c r i p t i o n S h o w B l a c k 3 >  
                     < C o l u m n 4 W i d t h > 6 5 < / C o l u m n 4 W i d t h >  
                     < F r e q u e n c y > 2 1 < / F r e q u e n c y >  
                     < S h o w F r e q u e n c y I n P e r c e n t a g e > f a l s e < / S h o w F r e q u e n c y I n P e r c e n t a g e >  
                     < F r e q u e n c y D e s c r i p t i o n > u s e s < / F r e q u e n c y D e s c r i p t i o n >  
                     < C o d e > 0 < / C o d e >  
                     < S e l e c t e d V a l u e   x s i : t y p e = " x s d : s t r i n g " >   / 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    < P r o b l e m >  
         < P r o b l e m N u m b e r > 9 1 2 4 2 3 9 c - e 3 2 2 - 4 c 6 1 - b b 4 f - 7 2 2 a 8 e 9 f 6 d 0 1 < / P r o b l e m N u m b e r >  
         < P r o p e r t y > P u n c t u a t i o n   S p a c i n g < / P r o p e r t y >  
         < P r o b l e m T o o l t i p > T h i s   s p a c i n g   a r o u n d   p u n c t u a t i o n   i s   i n c o n s i s t e n t   w i t h   m o s t   o f   t h e   p r e s e n t a t i o n < / P r o b l e m T o o l t i p >  
         < I s s u e C o n t e x t > M n g t . : < / I s s u e C o n t e x t >  
         < I s s u e C o n t e x t L i n e > C o m m u n i c a t i o n   & a m p ;   C h a n g e   M n g t . :   S t a k e h o l d e r   M a p < / I s s u e C o n t e x t L i n e >  
         < P r o b l e m D e s c r i p t i o n F o r e g r o u n d > # 9 9 9 9 9 9 < / P r o b l e m D e s c r i p t i o n F o r e g r o u n d >  
         < S e l e c t e d R e c o m m e n d e d S t y l e I n d e x > 0 < / S e l e c t e d R e c o m m e n d e d S t y l e I n d e x >  
         < C o d e > & a m p ; # x f 0 a d ; < / C o d e >  
         < m s S l i d e I D > 5 7 4 4 < / m s S l i d e I D >  
         < X M L A l g o r i t h m   t y p e = " P o w e r P o i n t A d d I n . A l g o r i t h m s . C o n t e n t . C o n t e n t P u n c t u a t i o n S p a c i n g ,   A s t u t e P o w e r P o i n t A d d I n ,   V e r s i o n = 1 . 0 . 3 6 . 0 ,   C u l t u r e = n e u t r a l ,   P u b l i c K e y T o k e n = n u l l " >  
             < C o n t e n t P u n c t u a t i o n S p a c i n g >  
                 < F i x I n d e x > 2 7 < / F i x I n d e x >  
                 < U n d o I n d e x > 2 7 < / U n d o I n d e x >  
                 < L e f t P u n c t u a t i o n D e s c r i p t i o n > M n g t < / L e f t P u n c t u a t i o n D e s c r i p t i o n >  
                 < R i g h t P u n c t u a t i o n D e s c r i p t i o n > : < / R i g h t P u n c t u a t i o n D e s c r i p t i o n >  
                 < S l i d e N u m b e r > 8 4 < / S l i d e N u m b e r >  
                 < S l i d e I n d e x > 8 5 < / S l i d e I n d e x >  
                 < L i n e N u m b e r > 1 < / L i n e N u m b e r >  
                 < S h a p e I n d e x > 3 < / S h a p e I n d e x >  
                 < S h a p e I n d e x e s / >  
                 < O c c u r i n g I n d e x > 1 < / O c c u r i n g I n d e x >  
                 < T a b l e R o w N u m b e r > 0 < / T a b l e R o w N u m b e r >  
                 < T a b l e C e l l N u m b e r > 0 < / T a b l e C e l l N u m b e r >  
                 < S h a p e I D > 3 1 < / S h a p e I D >  
                 < R o w I n d e x > 0 < / R o w I n d e x >  
                 < C o l u m n I n d e x > 0 < / C o l u m n I n d e x >  
                 < A p p l i e d I n d e x > 0 < / A p p l i e d I n d e x >  
                 < I s M s o T a b l e > f a l s e < / I s M s o T a b l e >  
                 < I s T r a i l i n g S p a c e > f a l s e < / I s T r a i l i n g S p a c e >  
                 < P u n c t u a t i o n W i t h S p a c e > . < / P u n c t u a t i o n W i t h S p a c e >  
                 < P u n c t u a t i o n M a r k > . < / P u n c t u a t i o n M a r k >  
                 < P u n c t u a t i o n I n d e x > 2 7 < / P u n c t u a t i o n I n d e x >  
                 < I s L i n e E n d i n g > f a l s e < / I s L i n e E n d i n g >  
                 < A p p l i e d S t y l e >  
                     < I s M i x e d S t y l e > f a l s e < / I s M i x e d S t y l e >  
                     < D e s c r i p t i o n S h o w B l a c k 1 > 2 4 p t < / D e s c r i p t i o n S h o w B l a c k 1 >  
                     < D e s c r i p t i o n S h o w R e d 1 / >  
                     < D e s c r i p t i o n S h o w B l a c k 2 > . < / D e s c r i p t i o n S h o w B l a c k 2 >  
                     < D e s c r i p t i o n S h o w R e d 2 > �< / D e s c r i p t i o n S h o w R e d 2 >  
                     < D e s c r i p t i o n S h o w B l a c k 3 > , < / D e s c r i p t i o n S h o w B l a c k 3 >  
                     < C o l u m n 4 W i d t h > 6 5 < / C o l u m n 4 W i d t h >  
                     < F r e q u e n c y > 5 < / F r e q u e n c y >  
                     < S h o w F r e q u e n c y I n P e r c e n t a g e > f a l s e < / S h o w F r e q u e n c y I n P e r c e n t a g e >  
                     < F r e q u e n c y D e s c r i p t i o n > u s e s < / F r e q u e n c y D e s c r i p t i o n >  
                     < C o d e > 0 < / C o d e >  
                     < S e l e c t e d V a l u e   x s i : t y p e = " x s d : s t r i n g " > .   < / S e l e c t e d V a l u e >  
                     < N o F i l l > f a l s e < / N o F i l l >  
                     < C o l o r P a l l e t E n a b l e d > f a l s e < / C o l o r P a l l e t E n a b l e d >  
                     < F r e q u e n c y U s e s E n a b l e d > t r u e < / F r e q u e n c y U s e s E n a b l e d >  
                     < I s D e f a u l t > f a l s e < / I s D e f a u l t >  
                     < A c t u a l U s e s > 0 < / A c t u a l U s e s >  
                     < T o t a l I t e m s > 0 < / T o t a l I t e m s >  
                 < / A p p l i e d S t y l e >  
                 < S l i d e C o n t e n t T y p e > C o n t e n t S l i d e < / S l i d e C o n t e n t T y p e >  
                 < P u n c t u a t i o n W i t h S p a c e A f t e r F i x / >  
             < / C o n t e n t P u n c t u a t i o n S p a c i n g >  
         < / X M L A l g o r i t h m >  
         < I s s u e C o n t e x t I n n e r > P u n c t u a t i o n   '   .   ' < / I s s u e C o n t e x t I n n e r >  
         < I s s u e C o n t e x t I n n e r T e x t > P u n c t u a t i o n   '   .   ' < / I s s u e C o n t e x t I n n e r T e x t >  
         < I s S e l e c t e d > f a l s e < / I s S e l e c t e d >  
         < I s S e l e c t a b l e > t r u e < / I s S e l e c t a b l e >  
         < I s F i r s t S l i d e W a r n i n g > f a l s e < / I s F i r s t S l i d e W a r n i n g >  
         < I s I g n o r e d > t r u e < / I s I g n o r e d >  
         < I s F i x e d > f a l s e < / I s F i x e d >  
         < I s W a r n i n g I c o n V i s i b l e > f a l s e < / I s W a r n i n g I c o n V i s i b l e >  
         < I s S u c c e s s I c o n V i s i b l e > f a l s e < / I s S u c c e s s I c o n V i s i b l e >  
         < I s I g n o r e I c o n V i s i b l e > t r u e < / I s I g n o r e I c o n V i s i b l e >  
         < I s F i x B u t t o n V i s i b l e > f a l s e < / I s F i x B u t t o n V i s i b l e >  
         < I s I g n o r e B u t t o n V i s i b l e > f a l s e < / I s I g n o r e B u t t o n V i s i b l e >  
         < I s U n d o F i x B u t t o n V i s i b l e > f a l s e < / I s U n d o F i x B u t t o n V i s i b l e >  
         < I s U n d o I g n o r e B u t t o n V i s i b l e > f a l s e < / I s U n d o I g n o r e B u t t o n V i s i b l e >  
         < I s I s s u e N o n F i x e d > t r u e < / I s I s s u e N o n F i x e d >  
         < H i d e I n I s s u e L i s t > f a l s e < / H i d e I n I s s u e L i s t >  
     < / P r o b l e m >  
 < / A r r a y O f P r o b l e m > 
</file>

<file path=customXml/itemProps1.xml><?xml version="1.0" encoding="utf-8"?>
<ds:datastoreItem xmlns:ds="http://schemas.openxmlformats.org/officeDocument/2006/customXml" ds:itemID="{3EEFC8CE-7023-4126-A30E-3995A410E488}">
  <ds:schemaRefs>
    <ds:schemaRef ds:uri="081318dc-8ff6-460b-8459-e52a7c2954da"/>
    <ds:schemaRef ds:uri="e00180f4-db5d-41cb-86de-ef1c91ceb13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6BE1B93-EE9D-4865-90E9-0B483C7B61A7}">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4F663C3-545F-493A-8560-D29DEC0FF63D}">
  <ds:schemaRefs>
    <ds:schemaRef ds:uri="http://schemas.microsoft.com/sharepoint/v3/contenttype/forms"/>
  </ds:schemaRefs>
</ds:datastoreItem>
</file>

<file path=customXml/itemProps4.xml><?xml version="1.0" encoding="utf-8"?>
<ds:datastoreItem xmlns:ds="http://schemas.openxmlformats.org/officeDocument/2006/customXml" ds:itemID="{8A528B8E-5988-4F30-AAF1-7C4B5E08DB56}">
  <ds:schemaRefs>
    <ds:schemaRef ds:uri="http://www.w3.org/2001/XMLSchema"/>
  </ds:schemaRefs>
</ds:datastoreItem>
</file>

<file path=customXml/itemProps5.xml><?xml version="1.0" encoding="utf-8"?>
<ds:datastoreItem xmlns:ds="http://schemas.openxmlformats.org/officeDocument/2006/customXml" ds:itemID="{1380F30C-307D-4B87-B9FF-C6B8D6E1A678}">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10427 PPT Format Guide_vF</Template>
  <TotalTime>1191</TotalTime>
  <Pages>1</Pages>
  <Words>1986</Words>
  <Application>Microsoft Office PowerPoint</Application>
  <PresentationFormat>Custom</PresentationFormat>
  <Paragraphs>294</Paragraphs>
  <Slides>1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rial</vt:lpstr>
      <vt:lpstr>Times New Roman</vt:lpstr>
      <vt:lpstr>Wingdings</vt:lpstr>
      <vt:lpstr>Blank</vt:lpstr>
      <vt:lpstr>think-cell Slide</vt:lpstr>
      <vt:lpstr>Alternative Workforce Description MEAF</vt:lpstr>
      <vt:lpstr>Agenda</vt:lpstr>
      <vt:lpstr>Introduction: James Emmet &amp; Company (JEC)</vt:lpstr>
      <vt:lpstr>Introduction: Disability Hiring has Become Inclusive</vt:lpstr>
      <vt:lpstr>Agenda</vt:lpstr>
      <vt:lpstr>Project Framework: Process Breakdown</vt:lpstr>
      <vt:lpstr>Agenda</vt:lpstr>
      <vt:lpstr>Proactive Resolution: Common Concerns (1/3)</vt:lpstr>
      <vt:lpstr>Proactive Resolution: Common Concerns (2/3)</vt:lpstr>
      <vt:lpstr>Proactive Resolution: Common Concerns (3/3)</vt:lpstr>
      <vt:lpstr>Agenda</vt:lpstr>
      <vt:lpstr>Case Study: Advance Auto Parts</vt:lpstr>
      <vt:lpstr>Case Study: Walgreens</vt:lpstr>
      <vt:lpstr>Case Study: Geodis</vt:lpstr>
      <vt:lpstr>Agenda</vt:lpstr>
      <vt:lpstr>Customer Portfolio: Current Customers</vt:lpstr>
      <vt:lpstr>Customer Portfolio: Serving Many Iconic Brands Over the Years</vt:lpstr>
      <vt:lpstr>Contact Us!</vt:lpstr>
      <vt:lpstr>References: Sources Use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te Workforce Proposal</dc:title>
  <dc:creator>Joshua Chang</dc:creator>
  <cp:lastModifiedBy>Nina Emmett</cp:lastModifiedBy>
  <cp:revision>46</cp:revision>
  <cp:lastPrinted>2017-02-15T03:46:43Z</cp:lastPrinted>
  <dcterms:created xsi:type="dcterms:W3CDTF">2021-09-21T07:52:13Z</dcterms:created>
  <dcterms:modified xsi:type="dcterms:W3CDTF">2022-02-28T13:31: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7DD27F2854FA478CE0A9CAD5F03EED</vt:lpwstr>
  </property>
</Properties>
</file>